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4" r:id="rId5"/>
  </p:sldMasterIdLst>
  <p:notesMasterIdLst>
    <p:notesMasterId r:id="rId15"/>
  </p:notesMasterIdLst>
  <p:handoutMasterIdLst>
    <p:handoutMasterId r:id="rId16"/>
  </p:handoutMasterIdLst>
  <p:sldIdLst>
    <p:sldId id="325" r:id="rId6"/>
    <p:sldId id="258" r:id="rId7"/>
    <p:sldId id="316" r:id="rId8"/>
    <p:sldId id="320" r:id="rId9"/>
    <p:sldId id="326" r:id="rId10"/>
    <p:sldId id="327" r:id="rId11"/>
    <p:sldId id="329" r:id="rId12"/>
    <p:sldId id="328" r:id="rId13"/>
    <p:sldId id="291" r:id="rId14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7A78"/>
    <a:srgbClr val="F58A1F"/>
    <a:srgbClr val="185586"/>
    <a:srgbClr val="80C242"/>
    <a:srgbClr val="92D050"/>
    <a:srgbClr val="636463"/>
    <a:srgbClr val="EC1C24"/>
    <a:srgbClr val="0058A0"/>
    <a:srgbClr val="C5C5C7"/>
    <a:srgbClr val="C7D1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74" autoAdjust="0"/>
    <p:restoredTop sz="94107" autoAdjust="0"/>
  </p:normalViewPr>
  <p:slideViewPr>
    <p:cSldViewPr snapToGrid="0" showGuides="1">
      <p:cViewPr varScale="1">
        <p:scale>
          <a:sx n="62" d="100"/>
          <a:sy n="62" d="100"/>
        </p:scale>
        <p:origin x="920" y="56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C59F4-56EB-4670-9C71-3EDD5FAF9DF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DE3650-F9C1-4F51-8238-9548295149E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5283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59EA2F-10F1-4795-8DA2-CE3EFFC3BEEE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82769-1025-4D00-8B3D-7FF8D479488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6040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424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a Livre: Forma 15">
            <a:extLst>
              <a:ext uri="{FF2B5EF4-FFF2-40B4-BE49-F238E27FC236}">
                <a16:creationId xmlns:a16="http://schemas.microsoft.com/office/drawing/2014/main" id="{A349FED5-8D8B-4CD4-A372-C0D6727179F4}"/>
              </a:ext>
            </a:extLst>
          </p:cNvPr>
          <p:cNvSpPr/>
          <p:nvPr userDrawn="1"/>
        </p:nvSpPr>
        <p:spPr>
          <a:xfrm>
            <a:off x="-45244" y="0"/>
            <a:ext cx="7362614" cy="6297133"/>
          </a:xfrm>
          <a:custGeom>
            <a:avLst/>
            <a:gdLst>
              <a:gd name="connsiteX0" fmla="*/ 0 w 7097965"/>
              <a:gd name="connsiteY0" fmla="*/ 0 h 6228062"/>
              <a:gd name="connsiteX1" fmla="*/ 2991263 w 7097965"/>
              <a:gd name="connsiteY1" fmla="*/ 0 h 6228062"/>
              <a:gd name="connsiteX2" fmla="*/ 3364346 w 7097965"/>
              <a:gd name="connsiteY2" fmla="*/ 0 h 6228062"/>
              <a:gd name="connsiteX3" fmla="*/ 3714119 w 7097965"/>
              <a:gd name="connsiteY3" fmla="*/ 0 h 6228062"/>
              <a:gd name="connsiteX4" fmla="*/ 3740943 w 7097965"/>
              <a:gd name="connsiteY4" fmla="*/ 0 h 6228062"/>
              <a:gd name="connsiteX5" fmla="*/ 4041334 w 7097965"/>
              <a:gd name="connsiteY5" fmla="*/ 0 h 6228062"/>
              <a:gd name="connsiteX6" fmla="*/ 7097806 w 7097965"/>
              <a:gd name="connsiteY6" fmla="*/ 0 h 6228062"/>
              <a:gd name="connsiteX7" fmla="*/ 7097806 w 7097965"/>
              <a:gd name="connsiteY7" fmla="*/ 4185089 h 6228062"/>
              <a:gd name="connsiteX8" fmla="*/ 5172265 w 7097965"/>
              <a:gd name="connsiteY8" fmla="*/ 6228062 h 6228062"/>
              <a:gd name="connsiteX9" fmla="*/ 3787711 w 7097965"/>
              <a:gd name="connsiteY9" fmla="*/ 6228062 h 6228062"/>
              <a:gd name="connsiteX10" fmla="*/ 3740943 w 7097965"/>
              <a:gd name="connsiteY10" fmla="*/ 6228062 h 6228062"/>
              <a:gd name="connsiteX11" fmla="*/ 3610738 w 7097965"/>
              <a:gd name="connsiteY11" fmla="*/ 6228062 h 6228062"/>
              <a:gd name="connsiteX12" fmla="*/ 3461653 w 7097965"/>
              <a:gd name="connsiteY12" fmla="*/ 6228062 h 6228062"/>
              <a:gd name="connsiteX13" fmla="*/ 3338132 w 7097965"/>
              <a:gd name="connsiteY13" fmla="*/ 6228062 h 6228062"/>
              <a:gd name="connsiteX14" fmla="*/ 3237849 w 7097965"/>
              <a:gd name="connsiteY14" fmla="*/ 6228062 h 6228062"/>
              <a:gd name="connsiteX15" fmla="*/ 3158479 w 7097965"/>
              <a:gd name="connsiteY15" fmla="*/ 6228062 h 6228062"/>
              <a:gd name="connsiteX16" fmla="*/ 3097699 w 7097965"/>
              <a:gd name="connsiteY16" fmla="*/ 6228062 h 6228062"/>
              <a:gd name="connsiteX17" fmla="*/ 3053183 w 7097965"/>
              <a:gd name="connsiteY17" fmla="*/ 6228062 h 6228062"/>
              <a:gd name="connsiteX18" fmla="*/ 3022606 w 7097965"/>
              <a:gd name="connsiteY18" fmla="*/ 6228062 h 6228062"/>
              <a:gd name="connsiteX19" fmla="*/ 3003643 w 7097965"/>
              <a:gd name="connsiteY19" fmla="*/ 6228062 h 6228062"/>
              <a:gd name="connsiteX20" fmla="*/ 2993971 w 7097965"/>
              <a:gd name="connsiteY20" fmla="*/ 6228062 h 6228062"/>
              <a:gd name="connsiteX21" fmla="*/ 2991263 w 7097965"/>
              <a:gd name="connsiteY21" fmla="*/ 6228062 h 6228062"/>
              <a:gd name="connsiteX22" fmla="*/ 0 w 7097965"/>
              <a:gd name="connsiteY22" fmla="*/ 6228062 h 622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097965" h="6228062">
                <a:moveTo>
                  <a:pt x="0" y="0"/>
                </a:moveTo>
                <a:lnTo>
                  <a:pt x="2991263" y="0"/>
                </a:lnTo>
                <a:lnTo>
                  <a:pt x="3364346" y="0"/>
                </a:lnTo>
                <a:lnTo>
                  <a:pt x="3714119" y="0"/>
                </a:lnTo>
                <a:lnTo>
                  <a:pt x="3740943" y="0"/>
                </a:lnTo>
                <a:lnTo>
                  <a:pt x="4041334" y="0"/>
                </a:lnTo>
                <a:cubicBezTo>
                  <a:pt x="7097806" y="0"/>
                  <a:pt x="7097806" y="0"/>
                  <a:pt x="7097806" y="0"/>
                </a:cubicBezTo>
                <a:cubicBezTo>
                  <a:pt x="7097806" y="4185089"/>
                  <a:pt x="7097806" y="4185089"/>
                  <a:pt x="7097806" y="4185089"/>
                </a:cubicBezTo>
                <a:cubicBezTo>
                  <a:pt x="7097806" y="4185089"/>
                  <a:pt x="7153688" y="6228062"/>
                  <a:pt x="5172265" y="6228062"/>
                </a:cubicBezTo>
                <a:cubicBezTo>
                  <a:pt x="4552572" y="6228062"/>
                  <a:pt x="4107198" y="6228062"/>
                  <a:pt x="3787711" y="6228062"/>
                </a:cubicBezTo>
                <a:lnTo>
                  <a:pt x="3740943" y="6228062"/>
                </a:lnTo>
                <a:lnTo>
                  <a:pt x="3610738" y="6228062"/>
                </a:lnTo>
                <a:lnTo>
                  <a:pt x="3461653" y="6228062"/>
                </a:lnTo>
                <a:lnTo>
                  <a:pt x="3338132" y="6228062"/>
                </a:lnTo>
                <a:lnTo>
                  <a:pt x="3237849" y="6228062"/>
                </a:lnTo>
                <a:lnTo>
                  <a:pt x="3158479" y="6228062"/>
                </a:lnTo>
                <a:lnTo>
                  <a:pt x="3097699" y="6228062"/>
                </a:lnTo>
                <a:lnTo>
                  <a:pt x="3053183" y="6228062"/>
                </a:lnTo>
                <a:lnTo>
                  <a:pt x="3022606" y="6228062"/>
                </a:lnTo>
                <a:lnTo>
                  <a:pt x="3003643" y="6228062"/>
                </a:lnTo>
                <a:lnTo>
                  <a:pt x="2993971" y="6228062"/>
                </a:lnTo>
                <a:lnTo>
                  <a:pt x="2991263" y="6228062"/>
                </a:lnTo>
                <a:lnTo>
                  <a:pt x="0" y="6228062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0" name="Rodapé">
            <a:extLst>
              <a:ext uri="{FF2B5EF4-FFF2-40B4-BE49-F238E27FC236}">
                <a16:creationId xmlns:a16="http://schemas.microsoft.com/office/drawing/2014/main" id="{ED92D66B-68B2-481B-BDA1-184502299370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C456576C-94EB-4B46-8CF8-153B40744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5E56D179-DFB8-450C-BC5F-5927357D4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9245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26498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a Livre: Forma 15">
            <a:extLst>
              <a:ext uri="{FF2B5EF4-FFF2-40B4-BE49-F238E27FC236}">
                <a16:creationId xmlns:a16="http://schemas.microsoft.com/office/drawing/2014/main" id="{A349FED5-8D8B-4CD4-A372-C0D6727179F4}"/>
              </a:ext>
            </a:extLst>
          </p:cNvPr>
          <p:cNvSpPr/>
          <p:nvPr userDrawn="1"/>
        </p:nvSpPr>
        <p:spPr>
          <a:xfrm>
            <a:off x="-45244" y="1"/>
            <a:ext cx="10706282" cy="6165850"/>
          </a:xfrm>
          <a:custGeom>
            <a:avLst/>
            <a:gdLst>
              <a:gd name="connsiteX0" fmla="*/ 0 w 7097965"/>
              <a:gd name="connsiteY0" fmla="*/ 0 h 6228062"/>
              <a:gd name="connsiteX1" fmla="*/ 2991263 w 7097965"/>
              <a:gd name="connsiteY1" fmla="*/ 0 h 6228062"/>
              <a:gd name="connsiteX2" fmla="*/ 3364346 w 7097965"/>
              <a:gd name="connsiteY2" fmla="*/ 0 h 6228062"/>
              <a:gd name="connsiteX3" fmla="*/ 3714119 w 7097965"/>
              <a:gd name="connsiteY3" fmla="*/ 0 h 6228062"/>
              <a:gd name="connsiteX4" fmla="*/ 3740943 w 7097965"/>
              <a:gd name="connsiteY4" fmla="*/ 0 h 6228062"/>
              <a:gd name="connsiteX5" fmla="*/ 4041334 w 7097965"/>
              <a:gd name="connsiteY5" fmla="*/ 0 h 6228062"/>
              <a:gd name="connsiteX6" fmla="*/ 7097806 w 7097965"/>
              <a:gd name="connsiteY6" fmla="*/ 0 h 6228062"/>
              <a:gd name="connsiteX7" fmla="*/ 7097806 w 7097965"/>
              <a:gd name="connsiteY7" fmla="*/ 4185089 h 6228062"/>
              <a:gd name="connsiteX8" fmla="*/ 5172265 w 7097965"/>
              <a:gd name="connsiteY8" fmla="*/ 6228062 h 6228062"/>
              <a:gd name="connsiteX9" fmla="*/ 3787711 w 7097965"/>
              <a:gd name="connsiteY9" fmla="*/ 6228062 h 6228062"/>
              <a:gd name="connsiteX10" fmla="*/ 3740943 w 7097965"/>
              <a:gd name="connsiteY10" fmla="*/ 6228062 h 6228062"/>
              <a:gd name="connsiteX11" fmla="*/ 3610738 w 7097965"/>
              <a:gd name="connsiteY11" fmla="*/ 6228062 h 6228062"/>
              <a:gd name="connsiteX12" fmla="*/ 3461653 w 7097965"/>
              <a:gd name="connsiteY12" fmla="*/ 6228062 h 6228062"/>
              <a:gd name="connsiteX13" fmla="*/ 3338132 w 7097965"/>
              <a:gd name="connsiteY13" fmla="*/ 6228062 h 6228062"/>
              <a:gd name="connsiteX14" fmla="*/ 3237849 w 7097965"/>
              <a:gd name="connsiteY14" fmla="*/ 6228062 h 6228062"/>
              <a:gd name="connsiteX15" fmla="*/ 3158479 w 7097965"/>
              <a:gd name="connsiteY15" fmla="*/ 6228062 h 6228062"/>
              <a:gd name="connsiteX16" fmla="*/ 3097699 w 7097965"/>
              <a:gd name="connsiteY16" fmla="*/ 6228062 h 6228062"/>
              <a:gd name="connsiteX17" fmla="*/ 3053183 w 7097965"/>
              <a:gd name="connsiteY17" fmla="*/ 6228062 h 6228062"/>
              <a:gd name="connsiteX18" fmla="*/ 3022606 w 7097965"/>
              <a:gd name="connsiteY18" fmla="*/ 6228062 h 6228062"/>
              <a:gd name="connsiteX19" fmla="*/ 3003643 w 7097965"/>
              <a:gd name="connsiteY19" fmla="*/ 6228062 h 6228062"/>
              <a:gd name="connsiteX20" fmla="*/ 2993971 w 7097965"/>
              <a:gd name="connsiteY20" fmla="*/ 6228062 h 6228062"/>
              <a:gd name="connsiteX21" fmla="*/ 2991263 w 7097965"/>
              <a:gd name="connsiteY21" fmla="*/ 6228062 h 6228062"/>
              <a:gd name="connsiteX22" fmla="*/ 0 w 7097965"/>
              <a:gd name="connsiteY22" fmla="*/ 6228062 h 622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097965" h="6228062">
                <a:moveTo>
                  <a:pt x="0" y="0"/>
                </a:moveTo>
                <a:lnTo>
                  <a:pt x="2991263" y="0"/>
                </a:lnTo>
                <a:lnTo>
                  <a:pt x="3364346" y="0"/>
                </a:lnTo>
                <a:lnTo>
                  <a:pt x="3714119" y="0"/>
                </a:lnTo>
                <a:lnTo>
                  <a:pt x="3740943" y="0"/>
                </a:lnTo>
                <a:lnTo>
                  <a:pt x="4041334" y="0"/>
                </a:lnTo>
                <a:cubicBezTo>
                  <a:pt x="7097806" y="0"/>
                  <a:pt x="7097806" y="0"/>
                  <a:pt x="7097806" y="0"/>
                </a:cubicBezTo>
                <a:cubicBezTo>
                  <a:pt x="7097806" y="4185089"/>
                  <a:pt x="7097806" y="4185089"/>
                  <a:pt x="7097806" y="4185089"/>
                </a:cubicBezTo>
                <a:cubicBezTo>
                  <a:pt x="7097806" y="4185089"/>
                  <a:pt x="7153688" y="6228062"/>
                  <a:pt x="5172265" y="6228062"/>
                </a:cubicBezTo>
                <a:cubicBezTo>
                  <a:pt x="4552572" y="6228062"/>
                  <a:pt x="4107198" y="6228062"/>
                  <a:pt x="3787711" y="6228062"/>
                </a:cubicBezTo>
                <a:lnTo>
                  <a:pt x="3740943" y="6228062"/>
                </a:lnTo>
                <a:lnTo>
                  <a:pt x="3610738" y="6228062"/>
                </a:lnTo>
                <a:lnTo>
                  <a:pt x="3461653" y="6228062"/>
                </a:lnTo>
                <a:lnTo>
                  <a:pt x="3338132" y="6228062"/>
                </a:lnTo>
                <a:lnTo>
                  <a:pt x="3237849" y="6228062"/>
                </a:lnTo>
                <a:lnTo>
                  <a:pt x="3158479" y="6228062"/>
                </a:lnTo>
                <a:lnTo>
                  <a:pt x="3097699" y="6228062"/>
                </a:lnTo>
                <a:lnTo>
                  <a:pt x="3053183" y="6228062"/>
                </a:lnTo>
                <a:lnTo>
                  <a:pt x="3022606" y="6228062"/>
                </a:lnTo>
                <a:lnTo>
                  <a:pt x="3003643" y="6228062"/>
                </a:lnTo>
                <a:lnTo>
                  <a:pt x="2993971" y="6228062"/>
                </a:lnTo>
                <a:lnTo>
                  <a:pt x="2991263" y="6228062"/>
                </a:lnTo>
                <a:lnTo>
                  <a:pt x="0" y="6228062"/>
                </a:lnTo>
                <a:close/>
              </a:path>
            </a:pathLst>
          </a:cu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9" name="Rodapé">
            <a:extLst>
              <a:ext uri="{FF2B5EF4-FFF2-40B4-BE49-F238E27FC236}">
                <a16:creationId xmlns:a16="http://schemas.microsoft.com/office/drawing/2014/main" id="{ED92D66B-68B2-481B-BDA1-184502299370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C456576C-94EB-4B46-8CF8-153B40744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5E56D179-DFB8-450C-BC5F-5927357D4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1265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Rodapé">
            <a:extLst>
              <a:ext uri="{FF2B5EF4-FFF2-40B4-BE49-F238E27FC236}">
                <a16:creationId xmlns:a16="http://schemas.microsoft.com/office/drawing/2014/main" id="{3E26AA73-2090-4EA7-8318-C39BF6337F23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9B48D3C5-3C3F-4F7E-BFE0-F15464560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D018A8E5-2ADE-4700-834D-D86F8F94C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6530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odapé">
            <a:extLst>
              <a:ext uri="{FF2B5EF4-FFF2-40B4-BE49-F238E27FC236}">
                <a16:creationId xmlns:a16="http://schemas.microsoft.com/office/drawing/2014/main" id="{1C7E066D-4FA2-41D5-B736-DF640B785411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F09ECF7F-A977-40B6-90D9-1588EF3A5B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1DECF45B-4E53-44CE-BF0A-0B7199C04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42924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Rodapé">
            <a:extLst>
              <a:ext uri="{FF2B5EF4-FFF2-40B4-BE49-F238E27FC236}">
                <a16:creationId xmlns:a16="http://schemas.microsoft.com/office/drawing/2014/main" id="{14BDE216-C52E-48B2-A079-626E8D3F9DDA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D8CBAD85-FDDA-4842-9DFF-E37A1694D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BC4D39C2-4B91-43BA-9040-3021A723A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6930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odapé">
            <a:extLst>
              <a:ext uri="{FF2B5EF4-FFF2-40B4-BE49-F238E27FC236}">
                <a16:creationId xmlns:a16="http://schemas.microsoft.com/office/drawing/2014/main" id="{FF805DA6-ED4D-415F-999F-7579FD002132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9323386A-51DA-4C07-84F7-53CA47CD1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C8B51040-2761-4066-8691-582C54817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72333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[Shape] Cor"/>
          <p:cNvSpPr/>
          <p:nvPr userDrawn="1"/>
        </p:nvSpPr>
        <p:spPr>
          <a:xfrm>
            <a:off x="0" y="5125055"/>
            <a:ext cx="12192000" cy="1370997"/>
          </a:xfrm>
          <a:prstGeom prst="rect">
            <a:avLst/>
          </a:prstGeom>
          <a:solidFill>
            <a:srgbClr val="F58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[Shape] Trocar cor: Preenchmento da forma"/>
          <p:cNvSpPr>
            <a:spLocks/>
          </p:cNvSpPr>
          <p:nvPr userDrawn="1"/>
        </p:nvSpPr>
        <p:spPr bwMode="auto">
          <a:xfrm>
            <a:off x="-1" y="4696321"/>
            <a:ext cx="12308115" cy="2161679"/>
          </a:xfrm>
          <a:custGeom>
            <a:avLst/>
            <a:gdLst>
              <a:gd name="T0" fmla="*/ 0 w 7730"/>
              <a:gd name="T1" fmla="*/ 1108 h 3085"/>
              <a:gd name="T2" fmla="*/ 0 w 7730"/>
              <a:gd name="T3" fmla="*/ 3040 h 3085"/>
              <a:gd name="T4" fmla="*/ 6344 w 7730"/>
              <a:gd name="T5" fmla="*/ 3040 h 3085"/>
              <a:gd name="T6" fmla="*/ 7680 w 7730"/>
              <a:gd name="T7" fmla="*/ 1881 h 3085"/>
              <a:gd name="T8" fmla="*/ 7680 w 7730"/>
              <a:gd name="T9" fmla="*/ 0 h 3085"/>
              <a:gd name="T10" fmla="*/ 6332 w 7730"/>
              <a:gd name="T11" fmla="*/ 1100 h 3085"/>
              <a:gd name="T12" fmla="*/ 2 w 7730"/>
              <a:gd name="T13" fmla="*/ 1100 h 3085"/>
              <a:gd name="T14" fmla="*/ 0 w 7730"/>
              <a:gd name="T15" fmla="*/ 1108 h 30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30" h="3085">
                <a:moveTo>
                  <a:pt x="0" y="1108"/>
                </a:moveTo>
                <a:cubicBezTo>
                  <a:pt x="0" y="3040"/>
                  <a:pt x="0" y="3040"/>
                  <a:pt x="0" y="3040"/>
                </a:cubicBezTo>
                <a:cubicBezTo>
                  <a:pt x="6344" y="3040"/>
                  <a:pt x="6344" y="3040"/>
                  <a:pt x="6344" y="3040"/>
                </a:cubicBezTo>
                <a:cubicBezTo>
                  <a:pt x="6344" y="3040"/>
                  <a:pt x="7680" y="3085"/>
                  <a:pt x="7680" y="1881"/>
                </a:cubicBezTo>
                <a:cubicBezTo>
                  <a:pt x="7680" y="677"/>
                  <a:pt x="7680" y="0"/>
                  <a:pt x="7680" y="0"/>
                </a:cubicBezTo>
                <a:cubicBezTo>
                  <a:pt x="7680" y="0"/>
                  <a:pt x="7730" y="1100"/>
                  <a:pt x="6332" y="1100"/>
                </a:cubicBezTo>
                <a:cubicBezTo>
                  <a:pt x="2" y="1100"/>
                  <a:pt x="2" y="1100"/>
                  <a:pt x="2" y="1100"/>
                </a:cubicBezTo>
                <a:lnTo>
                  <a:pt x="0" y="1108"/>
                </a:lnTo>
                <a:close/>
              </a:path>
            </a:pathLst>
          </a:custGeom>
          <a:solidFill>
            <a:srgbClr val="347A7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9" name="Rodapé">
            <a:extLst>
              <a:ext uri="{FF2B5EF4-FFF2-40B4-BE49-F238E27FC236}">
                <a16:creationId xmlns:a16="http://schemas.microsoft.com/office/drawing/2014/main" id="{FF805DA6-ED4D-415F-999F-7579FD002132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9323386A-51DA-4C07-84F7-53CA47CD1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C8B51040-2761-4066-8691-582C54817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90982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[Shape] Trocar cor: Preenchmento da forma"/>
          <p:cNvSpPr>
            <a:spLocks/>
          </p:cNvSpPr>
          <p:nvPr userDrawn="1"/>
        </p:nvSpPr>
        <p:spPr bwMode="auto">
          <a:xfrm>
            <a:off x="8496561" y="-1"/>
            <a:ext cx="3695439" cy="6222915"/>
          </a:xfrm>
          <a:custGeom>
            <a:avLst/>
            <a:gdLst>
              <a:gd name="T0" fmla="*/ 1228 w 3352"/>
              <a:gd name="T1" fmla="*/ 0 h 3832"/>
              <a:gd name="T2" fmla="*/ 1228 w 3352"/>
              <a:gd name="T3" fmla="*/ 2596 h 3832"/>
              <a:gd name="T4" fmla="*/ 0 w 3352"/>
              <a:gd name="T5" fmla="*/ 3832 h 3832"/>
              <a:gd name="T6" fmla="*/ 3352 w 3352"/>
              <a:gd name="T7" fmla="*/ 3832 h 3832"/>
              <a:gd name="T8" fmla="*/ 3352 w 3352"/>
              <a:gd name="T9" fmla="*/ 0 h 3832"/>
              <a:gd name="T10" fmla="*/ 1228 w 3352"/>
              <a:gd name="T11" fmla="*/ 0 h 3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352" h="3832">
                <a:moveTo>
                  <a:pt x="1228" y="0"/>
                </a:moveTo>
                <a:cubicBezTo>
                  <a:pt x="1228" y="2596"/>
                  <a:pt x="1228" y="2596"/>
                  <a:pt x="1228" y="2596"/>
                </a:cubicBezTo>
                <a:cubicBezTo>
                  <a:pt x="1228" y="2596"/>
                  <a:pt x="1308" y="3832"/>
                  <a:pt x="0" y="3832"/>
                </a:cubicBezTo>
                <a:cubicBezTo>
                  <a:pt x="3352" y="3832"/>
                  <a:pt x="3352" y="3832"/>
                  <a:pt x="3352" y="3832"/>
                </a:cubicBezTo>
                <a:cubicBezTo>
                  <a:pt x="3352" y="0"/>
                  <a:pt x="3352" y="0"/>
                  <a:pt x="3352" y="0"/>
                </a:cubicBezTo>
                <a:lnTo>
                  <a:pt x="1228" y="0"/>
                </a:lnTo>
                <a:close/>
              </a:path>
            </a:pathLst>
          </a:custGeom>
          <a:solidFill>
            <a:srgbClr val="F58A1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20" name="Rodapé">
            <a:extLst>
              <a:ext uri="{FF2B5EF4-FFF2-40B4-BE49-F238E27FC236}">
                <a16:creationId xmlns:a16="http://schemas.microsoft.com/office/drawing/2014/main" id="{ED92D66B-68B2-481B-BDA1-184502299370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C456576C-94EB-4B46-8CF8-153B40744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5E56D179-DFB8-450C-BC5F-5927357D4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45151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Rodapé">
            <a:extLst>
              <a:ext uri="{FF2B5EF4-FFF2-40B4-BE49-F238E27FC236}">
                <a16:creationId xmlns:a16="http://schemas.microsoft.com/office/drawing/2014/main" id="{FF805DA6-ED4D-415F-999F-7579FD002132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24" name="Imagem 23">
              <a:extLst>
                <a:ext uri="{FF2B5EF4-FFF2-40B4-BE49-F238E27FC236}">
                  <a16:creationId xmlns:a16="http://schemas.microsoft.com/office/drawing/2014/main" id="{9323386A-51DA-4C07-84F7-53CA47CD1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7" name="Imagem 26">
              <a:extLst>
                <a:ext uri="{FF2B5EF4-FFF2-40B4-BE49-F238E27FC236}">
                  <a16:creationId xmlns:a16="http://schemas.microsoft.com/office/drawing/2014/main" id="{C8B51040-2761-4066-8691-582C54817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9355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05255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rma Livre: Forma 116">
            <a:extLst>
              <a:ext uri="{FF2B5EF4-FFF2-40B4-BE49-F238E27FC236}">
                <a16:creationId xmlns:a16="http://schemas.microsoft.com/office/drawing/2014/main" id="{58CCDDE5-9130-4013-895F-E760F5FDAB23}"/>
              </a:ext>
            </a:extLst>
          </p:cNvPr>
          <p:cNvSpPr>
            <a:spLocks/>
          </p:cNvSpPr>
          <p:nvPr userDrawn="1"/>
        </p:nvSpPr>
        <p:spPr bwMode="auto">
          <a:xfrm>
            <a:off x="-10720" y="3326465"/>
            <a:ext cx="12434949" cy="3516357"/>
          </a:xfrm>
          <a:custGeom>
            <a:avLst/>
            <a:gdLst>
              <a:gd name="connsiteX0" fmla="*/ 10348689 w 10348689"/>
              <a:gd name="connsiteY0" fmla="*/ 0 h 2979131"/>
              <a:gd name="connsiteX1" fmla="*/ 10347056 w 10348689"/>
              <a:gd name="connsiteY1" fmla="*/ 71049 h 2979131"/>
              <a:gd name="connsiteX2" fmla="*/ 10343789 w 10348689"/>
              <a:gd name="connsiteY2" fmla="*/ 141282 h 2979131"/>
              <a:gd name="connsiteX3" fmla="*/ 10338889 w 10348689"/>
              <a:gd name="connsiteY3" fmla="*/ 209064 h 2979131"/>
              <a:gd name="connsiteX4" fmla="*/ 10333172 w 10348689"/>
              <a:gd name="connsiteY4" fmla="*/ 276030 h 2979131"/>
              <a:gd name="connsiteX5" fmla="*/ 10323373 w 10348689"/>
              <a:gd name="connsiteY5" fmla="*/ 339730 h 2979131"/>
              <a:gd name="connsiteX6" fmla="*/ 10313573 w 10348689"/>
              <a:gd name="connsiteY6" fmla="*/ 401796 h 2979131"/>
              <a:gd name="connsiteX7" fmla="*/ 10301323 w 10348689"/>
              <a:gd name="connsiteY7" fmla="*/ 461412 h 2979131"/>
              <a:gd name="connsiteX8" fmla="*/ 10286623 w 10348689"/>
              <a:gd name="connsiteY8" fmla="*/ 518578 h 2979131"/>
              <a:gd name="connsiteX9" fmla="*/ 10272740 w 10348689"/>
              <a:gd name="connsiteY9" fmla="*/ 575744 h 2979131"/>
              <a:gd name="connsiteX10" fmla="*/ 10254773 w 10348689"/>
              <a:gd name="connsiteY10" fmla="*/ 630460 h 2979131"/>
              <a:gd name="connsiteX11" fmla="*/ 10235990 w 10348689"/>
              <a:gd name="connsiteY11" fmla="*/ 682726 h 2979131"/>
              <a:gd name="connsiteX12" fmla="*/ 10217207 w 10348689"/>
              <a:gd name="connsiteY12" fmla="*/ 733359 h 2979131"/>
              <a:gd name="connsiteX13" fmla="*/ 10194341 w 10348689"/>
              <a:gd name="connsiteY13" fmla="*/ 782358 h 2979131"/>
              <a:gd name="connsiteX14" fmla="*/ 10172291 w 10348689"/>
              <a:gd name="connsiteY14" fmla="*/ 830541 h 2979131"/>
              <a:gd name="connsiteX15" fmla="*/ 10148608 w 10348689"/>
              <a:gd name="connsiteY15" fmla="*/ 874641 h 2979131"/>
              <a:gd name="connsiteX16" fmla="*/ 10123291 w 10348689"/>
              <a:gd name="connsiteY16" fmla="*/ 918740 h 2979131"/>
              <a:gd name="connsiteX17" fmla="*/ 10097975 w 10348689"/>
              <a:gd name="connsiteY17" fmla="*/ 962023 h 2979131"/>
              <a:gd name="connsiteX18" fmla="*/ 10071025 w 10348689"/>
              <a:gd name="connsiteY18" fmla="*/ 1002039 h 2979131"/>
              <a:gd name="connsiteX19" fmla="*/ 10042442 w 10348689"/>
              <a:gd name="connsiteY19" fmla="*/ 1041239 h 2979131"/>
              <a:gd name="connsiteX20" fmla="*/ 10013859 w 10348689"/>
              <a:gd name="connsiteY20" fmla="*/ 1079622 h 2979131"/>
              <a:gd name="connsiteX21" fmla="*/ 9983643 w 10348689"/>
              <a:gd name="connsiteY21" fmla="*/ 1114738 h 2979131"/>
              <a:gd name="connsiteX22" fmla="*/ 9951793 w 10348689"/>
              <a:gd name="connsiteY22" fmla="*/ 1149038 h 2979131"/>
              <a:gd name="connsiteX23" fmla="*/ 9919944 w 10348689"/>
              <a:gd name="connsiteY23" fmla="*/ 1182521 h 2979131"/>
              <a:gd name="connsiteX24" fmla="*/ 9888094 w 10348689"/>
              <a:gd name="connsiteY24" fmla="*/ 1214370 h 2979131"/>
              <a:gd name="connsiteX25" fmla="*/ 9854611 w 10348689"/>
              <a:gd name="connsiteY25" fmla="*/ 1244587 h 2979131"/>
              <a:gd name="connsiteX26" fmla="*/ 9821945 w 10348689"/>
              <a:gd name="connsiteY26" fmla="*/ 1273170 h 2979131"/>
              <a:gd name="connsiteX27" fmla="*/ 9786828 w 10348689"/>
              <a:gd name="connsiteY27" fmla="*/ 1301753 h 2979131"/>
              <a:gd name="connsiteX28" fmla="*/ 9751712 w 10348689"/>
              <a:gd name="connsiteY28" fmla="*/ 1328703 h 2979131"/>
              <a:gd name="connsiteX29" fmla="*/ 9716596 w 10348689"/>
              <a:gd name="connsiteY29" fmla="*/ 1352386 h 2979131"/>
              <a:gd name="connsiteX30" fmla="*/ 9681479 w 10348689"/>
              <a:gd name="connsiteY30" fmla="*/ 1376069 h 2979131"/>
              <a:gd name="connsiteX31" fmla="*/ 9645547 w 10348689"/>
              <a:gd name="connsiteY31" fmla="*/ 1400568 h 2979131"/>
              <a:gd name="connsiteX32" fmla="*/ 9610430 w 10348689"/>
              <a:gd name="connsiteY32" fmla="*/ 1420985 h 2979131"/>
              <a:gd name="connsiteX33" fmla="*/ 9573681 w 10348689"/>
              <a:gd name="connsiteY33" fmla="*/ 1441401 h 2979131"/>
              <a:gd name="connsiteX34" fmla="*/ 9537748 w 10348689"/>
              <a:gd name="connsiteY34" fmla="*/ 1460185 h 2979131"/>
              <a:gd name="connsiteX35" fmla="*/ 9500998 w 10348689"/>
              <a:gd name="connsiteY35" fmla="*/ 1479784 h 2979131"/>
              <a:gd name="connsiteX36" fmla="*/ 9464248 w 10348689"/>
              <a:gd name="connsiteY36" fmla="*/ 1495301 h 2979131"/>
              <a:gd name="connsiteX37" fmla="*/ 9391566 w 10348689"/>
              <a:gd name="connsiteY37" fmla="*/ 1527150 h 2979131"/>
              <a:gd name="connsiteX38" fmla="*/ 9319700 w 10348689"/>
              <a:gd name="connsiteY38" fmla="*/ 1554100 h 2979131"/>
              <a:gd name="connsiteX39" fmla="*/ 9248651 w 10348689"/>
              <a:gd name="connsiteY39" fmla="*/ 1577783 h 2979131"/>
              <a:gd name="connsiteX40" fmla="*/ 9178418 w 10348689"/>
              <a:gd name="connsiteY40" fmla="*/ 1599016 h 2979131"/>
              <a:gd name="connsiteX41" fmla="*/ 9112269 w 10348689"/>
              <a:gd name="connsiteY41" fmla="*/ 1616166 h 2979131"/>
              <a:gd name="connsiteX42" fmla="*/ 9046936 w 10348689"/>
              <a:gd name="connsiteY42" fmla="*/ 1630866 h 2979131"/>
              <a:gd name="connsiteX43" fmla="*/ 8984870 w 10348689"/>
              <a:gd name="connsiteY43" fmla="*/ 1643116 h 2979131"/>
              <a:gd name="connsiteX44" fmla="*/ 8926071 w 10348689"/>
              <a:gd name="connsiteY44" fmla="*/ 1652916 h 2979131"/>
              <a:gd name="connsiteX45" fmla="*/ 8872172 w 10348689"/>
              <a:gd name="connsiteY45" fmla="*/ 1660266 h 2979131"/>
              <a:gd name="connsiteX46" fmla="*/ 8821539 w 10348689"/>
              <a:gd name="connsiteY46" fmla="*/ 1665166 h 2979131"/>
              <a:gd name="connsiteX47" fmla="*/ 8776623 w 10348689"/>
              <a:gd name="connsiteY47" fmla="*/ 1668432 h 2979131"/>
              <a:gd name="connsiteX48" fmla="*/ 8737423 w 10348689"/>
              <a:gd name="connsiteY48" fmla="*/ 1671699 h 2979131"/>
              <a:gd name="connsiteX49" fmla="*/ 8675357 w 10348689"/>
              <a:gd name="connsiteY49" fmla="*/ 1673332 h 2979131"/>
              <a:gd name="connsiteX50" fmla="*/ 0 w 10348689"/>
              <a:gd name="connsiteY50" fmla="*/ 1673332 h 2979131"/>
              <a:gd name="connsiteX51" fmla="*/ 0 w 10348689"/>
              <a:gd name="connsiteY51" fmla="*/ 2979131 h 2979131"/>
              <a:gd name="connsiteX52" fmla="*/ 8675357 w 10348689"/>
              <a:gd name="connsiteY52" fmla="*/ 2979131 h 2979131"/>
              <a:gd name="connsiteX53" fmla="*/ 8737423 w 10348689"/>
              <a:gd name="connsiteY53" fmla="*/ 2977498 h 2979131"/>
              <a:gd name="connsiteX54" fmla="*/ 8776623 w 10348689"/>
              <a:gd name="connsiteY54" fmla="*/ 2974231 h 2979131"/>
              <a:gd name="connsiteX55" fmla="*/ 8821539 w 10348689"/>
              <a:gd name="connsiteY55" fmla="*/ 2970965 h 2979131"/>
              <a:gd name="connsiteX56" fmla="*/ 8872172 w 10348689"/>
              <a:gd name="connsiteY56" fmla="*/ 2966065 h 2979131"/>
              <a:gd name="connsiteX57" fmla="*/ 8926071 w 10348689"/>
              <a:gd name="connsiteY57" fmla="*/ 2958715 h 2979131"/>
              <a:gd name="connsiteX58" fmla="*/ 8984870 w 10348689"/>
              <a:gd name="connsiteY58" fmla="*/ 2948915 h 2979131"/>
              <a:gd name="connsiteX59" fmla="*/ 9046936 w 10348689"/>
              <a:gd name="connsiteY59" fmla="*/ 2936665 h 2979131"/>
              <a:gd name="connsiteX60" fmla="*/ 9112269 w 10348689"/>
              <a:gd name="connsiteY60" fmla="*/ 2921965 h 2979131"/>
              <a:gd name="connsiteX61" fmla="*/ 9178418 w 10348689"/>
              <a:gd name="connsiteY61" fmla="*/ 2904815 h 2979131"/>
              <a:gd name="connsiteX62" fmla="*/ 9248651 w 10348689"/>
              <a:gd name="connsiteY62" fmla="*/ 2883582 h 2979131"/>
              <a:gd name="connsiteX63" fmla="*/ 9319700 w 10348689"/>
              <a:gd name="connsiteY63" fmla="*/ 2859899 h 2979131"/>
              <a:gd name="connsiteX64" fmla="*/ 9391566 w 10348689"/>
              <a:gd name="connsiteY64" fmla="*/ 2832949 h 2979131"/>
              <a:gd name="connsiteX65" fmla="*/ 9464248 w 10348689"/>
              <a:gd name="connsiteY65" fmla="*/ 2801100 h 2979131"/>
              <a:gd name="connsiteX66" fmla="*/ 9500998 w 10348689"/>
              <a:gd name="connsiteY66" fmla="*/ 2785583 h 2979131"/>
              <a:gd name="connsiteX67" fmla="*/ 9537748 w 10348689"/>
              <a:gd name="connsiteY67" fmla="*/ 2765984 h 2979131"/>
              <a:gd name="connsiteX68" fmla="*/ 9573681 w 10348689"/>
              <a:gd name="connsiteY68" fmla="*/ 2747200 h 2979131"/>
              <a:gd name="connsiteX69" fmla="*/ 9610430 w 10348689"/>
              <a:gd name="connsiteY69" fmla="*/ 2726784 h 2979131"/>
              <a:gd name="connsiteX70" fmla="*/ 9645547 w 10348689"/>
              <a:gd name="connsiteY70" fmla="*/ 2706367 h 2979131"/>
              <a:gd name="connsiteX71" fmla="*/ 9681479 w 10348689"/>
              <a:gd name="connsiteY71" fmla="*/ 2681868 h 2979131"/>
              <a:gd name="connsiteX72" fmla="*/ 9716596 w 10348689"/>
              <a:gd name="connsiteY72" fmla="*/ 2658185 h 2979131"/>
              <a:gd name="connsiteX73" fmla="*/ 9751712 w 10348689"/>
              <a:gd name="connsiteY73" fmla="*/ 2634502 h 2979131"/>
              <a:gd name="connsiteX74" fmla="*/ 9786828 w 10348689"/>
              <a:gd name="connsiteY74" fmla="*/ 2607552 h 2979131"/>
              <a:gd name="connsiteX75" fmla="*/ 9821945 w 10348689"/>
              <a:gd name="connsiteY75" fmla="*/ 2578969 h 2979131"/>
              <a:gd name="connsiteX76" fmla="*/ 9854611 w 10348689"/>
              <a:gd name="connsiteY76" fmla="*/ 2550386 h 2979131"/>
              <a:gd name="connsiteX77" fmla="*/ 9888094 w 10348689"/>
              <a:gd name="connsiteY77" fmla="*/ 2520169 h 2979131"/>
              <a:gd name="connsiteX78" fmla="*/ 9919944 w 10348689"/>
              <a:gd name="connsiteY78" fmla="*/ 2488320 h 2979131"/>
              <a:gd name="connsiteX79" fmla="*/ 9951793 w 10348689"/>
              <a:gd name="connsiteY79" fmla="*/ 2454837 h 2979131"/>
              <a:gd name="connsiteX80" fmla="*/ 9983643 w 10348689"/>
              <a:gd name="connsiteY80" fmla="*/ 2420537 h 2979131"/>
              <a:gd name="connsiteX81" fmla="*/ 10013859 w 10348689"/>
              <a:gd name="connsiteY81" fmla="*/ 2385421 h 2979131"/>
              <a:gd name="connsiteX82" fmla="*/ 10042442 w 10348689"/>
              <a:gd name="connsiteY82" fmla="*/ 2347038 h 2979131"/>
              <a:gd name="connsiteX83" fmla="*/ 10071025 w 10348689"/>
              <a:gd name="connsiteY83" fmla="*/ 2307838 h 2979131"/>
              <a:gd name="connsiteX84" fmla="*/ 10097975 w 10348689"/>
              <a:gd name="connsiteY84" fmla="*/ 2267822 h 2979131"/>
              <a:gd name="connsiteX85" fmla="*/ 10123291 w 10348689"/>
              <a:gd name="connsiteY85" fmla="*/ 2224539 h 2979131"/>
              <a:gd name="connsiteX86" fmla="*/ 10148608 w 10348689"/>
              <a:gd name="connsiteY86" fmla="*/ 2180440 h 2979131"/>
              <a:gd name="connsiteX87" fmla="*/ 10172291 w 10348689"/>
              <a:gd name="connsiteY87" fmla="*/ 2136340 h 2979131"/>
              <a:gd name="connsiteX88" fmla="*/ 10194341 w 10348689"/>
              <a:gd name="connsiteY88" fmla="*/ 2088157 h 2979131"/>
              <a:gd name="connsiteX89" fmla="*/ 10217207 w 10348689"/>
              <a:gd name="connsiteY89" fmla="*/ 2039158 h 2979131"/>
              <a:gd name="connsiteX90" fmla="*/ 10235990 w 10348689"/>
              <a:gd name="connsiteY90" fmla="*/ 1988525 h 2979131"/>
              <a:gd name="connsiteX91" fmla="*/ 10254773 w 10348689"/>
              <a:gd name="connsiteY91" fmla="*/ 1936259 h 2979131"/>
              <a:gd name="connsiteX92" fmla="*/ 10272740 w 10348689"/>
              <a:gd name="connsiteY92" fmla="*/ 1881543 h 2979131"/>
              <a:gd name="connsiteX93" fmla="*/ 10286623 w 10348689"/>
              <a:gd name="connsiteY93" fmla="*/ 1824377 h 2979131"/>
              <a:gd name="connsiteX94" fmla="*/ 10301323 w 10348689"/>
              <a:gd name="connsiteY94" fmla="*/ 1767211 h 2979131"/>
              <a:gd name="connsiteX95" fmla="*/ 10313573 w 10348689"/>
              <a:gd name="connsiteY95" fmla="*/ 1707595 h 2979131"/>
              <a:gd name="connsiteX96" fmla="*/ 10323373 w 10348689"/>
              <a:gd name="connsiteY96" fmla="*/ 1645529 h 2979131"/>
              <a:gd name="connsiteX97" fmla="*/ 10333172 w 10348689"/>
              <a:gd name="connsiteY97" fmla="*/ 1581829 h 2979131"/>
              <a:gd name="connsiteX98" fmla="*/ 10338889 w 10348689"/>
              <a:gd name="connsiteY98" fmla="*/ 1514863 h 2979131"/>
              <a:gd name="connsiteX99" fmla="*/ 10343789 w 10348689"/>
              <a:gd name="connsiteY99" fmla="*/ 1447081 h 2979131"/>
              <a:gd name="connsiteX100" fmla="*/ 10347056 w 10348689"/>
              <a:gd name="connsiteY100" fmla="*/ 1376848 h 2979131"/>
              <a:gd name="connsiteX101" fmla="*/ 10348689 w 10348689"/>
              <a:gd name="connsiteY101" fmla="*/ 1305799 h 2979131"/>
              <a:gd name="connsiteX102" fmla="*/ 10348689 w 10348689"/>
              <a:gd name="connsiteY102" fmla="*/ 0 h 297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10348689" h="2979131">
                <a:moveTo>
                  <a:pt x="10348689" y="0"/>
                </a:moveTo>
                <a:lnTo>
                  <a:pt x="10347056" y="71049"/>
                </a:lnTo>
                <a:lnTo>
                  <a:pt x="10343789" y="141282"/>
                </a:lnTo>
                <a:lnTo>
                  <a:pt x="10338889" y="209064"/>
                </a:lnTo>
                <a:lnTo>
                  <a:pt x="10333172" y="276030"/>
                </a:lnTo>
                <a:lnTo>
                  <a:pt x="10323373" y="339730"/>
                </a:lnTo>
                <a:lnTo>
                  <a:pt x="10313573" y="401796"/>
                </a:lnTo>
                <a:lnTo>
                  <a:pt x="10301323" y="461412"/>
                </a:lnTo>
                <a:lnTo>
                  <a:pt x="10286623" y="518578"/>
                </a:lnTo>
                <a:lnTo>
                  <a:pt x="10272740" y="575744"/>
                </a:lnTo>
                <a:lnTo>
                  <a:pt x="10254773" y="630460"/>
                </a:lnTo>
                <a:lnTo>
                  <a:pt x="10235990" y="682726"/>
                </a:lnTo>
                <a:lnTo>
                  <a:pt x="10217207" y="733359"/>
                </a:lnTo>
                <a:lnTo>
                  <a:pt x="10194341" y="782358"/>
                </a:lnTo>
                <a:lnTo>
                  <a:pt x="10172291" y="830541"/>
                </a:lnTo>
                <a:lnTo>
                  <a:pt x="10148608" y="874641"/>
                </a:lnTo>
                <a:lnTo>
                  <a:pt x="10123291" y="918740"/>
                </a:lnTo>
                <a:lnTo>
                  <a:pt x="10097975" y="962023"/>
                </a:lnTo>
                <a:lnTo>
                  <a:pt x="10071025" y="1002039"/>
                </a:lnTo>
                <a:lnTo>
                  <a:pt x="10042442" y="1041239"/>
                </a:lnTo>
                <a:lnTo>
                  <a:pt x="10013859" y="1079622"/>
                </a:lnTo>
                <a:lnTo>
                  <a:pt x="9983643" y="1114738"/>
                </a:lnTo>
                <a:lnTo>
                  <a:pt x="9951793" y="1149038"/>
                </a:lnTo>
                <a:lnTo>
                  <a:pt x="9919944" y="1182521"/>
                </a:lnTo>
                <a:lnTo>
                  <a:pt x="9888094" y="1214370"/>
                </a:lnTo>
                <a:lnTo>
                  <a:pt x="9854611" y="1244587"/>
                </a:lnTo>
                <a:lnTo>
                  <a:pt x="9821945" y="1273170"/>
                </a:lnTo>
                <a:lnTo>
                  <a:pt x="9786828" y="1301753"/>
                </a:lnTo>
                <a:lnTo>
                  <a:pt x="9751712" y="1328703"/>
                </a:lnTo>
                <a:lnTo>
                  <a:pt x="9716596" y="1352386"/>
                </a:lnTo>
                <a:lnTo>
                  <a:pt x="9681479" y="1376069"/>
                </a:lnTo>
                <a:lnTo>
                  <a:pt x="9645547" y="1400568"/>
                </a:lnTo>
                <a:lnTo>
                  <a:pt x="9610430" y="1420985"/>
                </a:lnTo>
                <a:lnTo>
                  <a:pt x="9573681" y="1441401"/>
                </a:lnTo>
                <a:lnTo>
                  <a:pt x="9537748" y="1460185"/>
                </a:lnTo>
                <a:lnTo>
                  <a:pt x="9500998" y="1479784"/>
                </a:lnTo>
                <a:lnTo>
                  <a:pt x="9464248" y="1495301"/>
                </a:lnTo>
                <a:lnTo>
                  <a:pt x="9391566" y="1527150"/>
                </a:lnTo>
                <a:lnTo>
                  <a:pt x="9319700" y="1554100"/>
                </a:lnTo>
                <a:lnTo>
                  <a:pt x="9248651" y="1577783"/>
                </a:lnTo>
                <a:lnTo>
                  <a:pt x="9178418" y="1599016"/>
                </a:lnTo>
                <a:lnTo>
                  <a:pt x="9112269" y="1616166"/>
                </a:lnTo>
                <a:lnTo>
                  <a:pt x="9046936" y="1630866"/>
                </a:lnTo>
                <a:lnTo>
                  <a:pt x="8984870" y="1643116"/>
                </a:lnTo>
                <a:lnTo>
                  <a:pt x="8926071" y="1652916"/>
                </a:lnTo>
                <a:lnTo>
                  <a:pt x="8872172" y="1660266"/>
                </a:lnTo>
                <a:lnTo>
                  <a:pt x="8821539" y="1665166"/>
                </a:lnTo>
                <a:lnTo>
                  <a:pt x="8776623" y="1668432"/>
                </a:lnTo>
                <a:lnTo>
                  <a:pt x="8737423" y="1671699"/>
                </a:lnTo>
                <a:lnTo>
                  <a:pt x="8675357" y="1673332"/>
                </a:lnTo>
                <a:lnTo>
                  <a:pt x="0" y="1673332"/>
                </a:lnTo>
                <a:lnTo>
                  <a:pt x="0" y="2979131"/>
                </a:lnTo>
                <a:lnTo>
                  <a:pt x="8675357" y="2979131"/>
                </a:lnTo>
                <a:lnTo>
                  <a:pt x="8737423" y="2977498"/>
                </a:lnTo>
                <a:lnTo>
                  <a:pt x="8776623" y="2974231"/>
                </a:lnTo>
                <a:lnTo>
                  <a:pt x="8821539" y="2970965"/>
                </a:lnTo>
                <a:lnTo>
                  <a:pt x="8872172" y="2966065"/>
                </a:lnTo>
                <a:lnTo>
                  <a:pt x="8926071" y="2958715"/>
                </a:lnTo>
                <a:lnTo>
                  <a:pt x="8984870" y="2948915"/>
                </a:lnTo>
                <a:lnTo>
                  <a:pt x="9046936" y="2936665"/>
                </a:lnTo>
                <a:lnTo>
                  <a:pt x="9112269" y="2921965"/>
                </a:lnTo>
                <a:lnTo>
                  <a:pt x="9178418" y="2904815"/>
                </a:lnTo>
                <a:lnTo>
                  <a:pt x="9248651" y="2883582"/>
                </a:lnTo>
                <a:lnTo>
                  <a:pt x="9319700" y="2859899"/>
                </a:lnTo>
                <a:lnTo>
                  <a:pt x="9391566" y="2832949"/>
                </a:lnTo>
                <a:lnTo>
                  <a:pt x="9464248" y="2801100"/>
                </a:lnTo>
                <a:lnTo>
                  <a:pt x="9500998" y="2785583"/>
                </a:lnTo>
                <a:lnTo>
                  <a:pt x="9537748" y="2765984"/>
                </a:lnTo>
                <a:lnTo>
                  <a:pt x="9573681" y="2747200"/>
                </a:lnTo>
                <a:lnTo>
                  <a:pt x="9610430" y="2726784"/>
                </a:lnTo>
                <a:lnTo>
                  <a:pt x="9645547" y="2706367"/>
                </a:lnTo>
                <a:lnTo>
                  <a:pt x="9681479" y="2681868"/>
                </a:lnTo>
                <a:lnTo>
                  <a:pt x="9716596" y="2658185"/>
                </a:lnTo>
                <a:lnTo>
                  <a:pt x="9751712" y="2634502"/>
                </a:lnTo>
                <a:lnTo>
                  <a:pt x="9786828" y="2607552"/>
                </a:lnTo>
                <a:lnTo>
                  <a:pt x="9821945" y="2578969"/>
                </a:lnTo>
                <a:lnTo>
                  <a:pt x="9854611" y="2550386"/>
                </a:lnTo>
                <a:lnTo>
                  <a:pt x="9888094" y="2520169"/>
                </a:lnTo>
                <a:lnTo>
                  <a:pt x="9919944" y="2488320"/>
                </a:lnTo>
                <a:lnTo>
                  <a:pt x="9951793" y="2454837"/>
                </a:lnTo>
                <a:lnTo>
                  <a:pt x="9983643" y="2420537"/>
                </a:lnTo>
                <a:lnTo>
                  <a:pt x="10013859" y="2385421"/>
                </a:lnTo>
                <a:lnTo>
                  <a:pt x="10042442" y="2347038"/>
                </a:lnTo>
                <a:lnTo>
                  <a:pt x="10071025" y="2307838"/>
                </a:lnTo>
                <a:lnTo>
                  <a:pt x="10097975" y="2267822"/>
                </a:lnTo>
                <a:lnTo>
                  <a:pt x="10123291" y="2224539"/>
                </a:lnTo>
                <a:lnTo>
                  <a:pt x="10148608" y="2180440"/>
                </a:lnTo>
                <a:lnTo>
                  <a:pt x="10172291" y="2136340"/>
                </a:lnTo>
                <a:lnTo>
                  <a:pt x="10194341" y="2088157"/>
                </a:lnTo>
                <a:lnTo>
                  <a:pt x="10217207" y="2039158"/>
                </a:lnTo>
                <a:lnTo>
                  <a:pt x="10235990" y="1988525"/>
                </a:lnTo>
                <a:lnTo>
                  <a:pt x="10254773" y="1936259"/>
                </a:lnTo>
                <a:lnTo>
                  <a:pt x="10272740" y="1881543"/>
                </a:lnTo>
                <a:lnTo>
                  <a:pt x="10286623" y="1824377"/>
                </a:lnTo>
                <a:lnTo>
                  <a:pt x="10301323" y="1767211"/>
                </a:lnTo>
                <a:lnTo>
                  <a:pt x="10313573" y="1707595"/>
                </a:lnTo>
                <a:lnTo>
                  <a:pt x="10323373" y="1645529"/>
                </a:lnTo>
                <a:lnTo>
                  <a:pt x="10333172" y="1581829"/>
                </a:lnTo>
                <a:lnTo>
                  <a:pt x="10338889" y="1514863"/>
                </a:lnTo>
                <a:lnTo>
                  <a:pt x="10343789" y="1447081"/>
                </a:lnTo>
                <a:lnTo>
                  <a:pt x="10347056" y="1376848"/>
                </a:lnTo>
                <a:lnTo>
                  <a:pt x="10348689" y="1305799"/>
                </a:lnTo>
                <a:lnTo>
                  <a:pt x="10348689" y="0"/>
                </a:lnTo>
                <a:close/>
              </a:path>
            </a:pathLst>
          </a:custGeom>
          <a:solidFill>
            <a:srgbClr val="347A7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/>
          </a:p>
        </p:txBody>
      </p:sp>
      <p:grpSp>
        <p:nvGrpSpPr>
          <p:cNvPr id="21" name="Rodapé">
            <a:extLst>
              <a:ext uri="{FF2B5EF4-FFF2-40B4-BE49-F238E27FC236}">
                <a16:creationId xmlns:a16="http://schemas.microsoft.com/office/drawing/2014/main" id="{3E26AA73-2090-4EA7-8318-C39BF6337F23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9B48D3C5-3C3F-4F7E-BFE0-F15464560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5" name="Imagem 24">
              <a:extLst>
                <a:ext uri="{FF2B5EF4-FFF2-40B4-BE49-F238E27FC236}">
                  <a16:creationId xmlns:a16="http://schemas.microsoft.com/office/drawing/2014/main" id="{D018A8E5-2ADE-4700-834D-D86F8F94C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4635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rma Livre: Forma 35">
            <a:extLst>
              <a:ext uri="{FF2B5EF4-FFF2-40B4-BE49-F238E27FC236}">
                <a16:creationId xmlns:a16="http://schemas.microsoft.com/office/drawing/2014/main" id="{FD8B70FF-6B96-49E3-9032-09A77D7B9237}"/>
              </a:ext>
            </a:extLst>
          </p:cNvPr>
          <p:cNvSpPr/>
          <p:nvPr userDrawn="1"/>
        </p:nvSpPr>
        <p:spPr>
          <a:xfrm flipH="1">
            <a:off x="-1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10341545 w 12192000"/>
              <a:gd name="connsiteY1" fmla="*/ 0 h 6858000"/>
              <a:gd name="connsiteX2" fmla="*/ 10341545 w 12192000"/>
              <a:gd name="connsiteY2" fmla="*/ 3690620 h 6858000"/>
              <a:gd name="connsiteX3" fmla="*/ 10339912 w 12192000"/>
              <a:gd name="connsiteY3" fmla="*/ 3761669 h 6858000"/>
              <a:gd name="connsiteX4" fmla="*/ 10336645 w 12192000"/>
              <a:gd name="connsiteY4" fmla="*/ 3831902 h 6858000"/>
              <a:gd name="connsiteX5" fmla="*/ 10331745 w 12192000"/>
              <a:gd name="connsiteY5" fmla="*/ 3899684 h 6858000"/>
              <a:gd name="connsiteX6" fmla="*/ 10326028 w 12192000"/>
              <a:gd name="connsiteY6" fmla="*/ 3966650 h 6858000"/>
              <a:gd name="connsiteX7" fmla="*/ 10316229 w 12192000"/>
              <a:gd name="connsiteY7" fmla="*/ 4030350 h 6858000"/>
              <a:gd name="connsiteX8" fmla="*/ 10306429 w 12192000"/>
              <a:gd name="connsiteY8" fmla="*/ 4092416 h 6858000"/>
              <a:gd name="connsiteX9" fmla="*/ 10294179 w 12192000"/>
              <a:gd name="connsiteY9" fmla="*/ 4152032 h 6858000"/>
              <a:gd name="connsiteX10" fmla="*/ 10279479 w 12192000"/>
              <a:gd name="connsiteY10" fmla="*/ 4209198 h 6858000"/>
              <a:gd name="connsiteX11" fmla="*/ 10265596 w 12192000"/>
              <a:gd name="connsiteY11" fmla="*/ 4266364 h 6858000"/>
              <a:gd name="connsiteX12" fmla="*/ 10247629 w 12192000"/>
              <a:gd name="connsiteY12" fmla="*/ 4321080 h 6858000"/>
              <a:gd name="connsiteX13" fmla="*/ 10228846 w 12192000"/>
              <a:gd name="connsiteY13" fmla="*/ 4373346 h 6858000"/>
              <a:gd name="connsiteX14" fmla="*/ 10210063 w 12192000"/>
              <a:gd name="connsiteY14" fmla="*/ 4423979 h 6858000"/>
              <a:gd name="connsiteX15" fmla="*/ 10187197 w 12192000"/>
              <a:gd name="connsiteY15" fmla="*/ 4472978 h 6858000"/>
              <a:gd name="connsiteX16" fmla="*/ 10165147 w 12192000"/>
              <a:gd name="connsiteY16" fmla="*/ 4521161 h 6858000"/>
              <a:gd name="connsiteX17" fmla="*/ 10141464 w 12192000"/>
              <a:gd name="connsiteY17" fmla="*/ 4565261 h 6858000"/>
              <a:gd name="connsiteX18" fmla="*/ 10116147 w 12192000"/>
              <a:gd name="connsiteY18" fmla="*/ 4609360 h 6858000"/>
              <a:gd name="connsiteX19" fmla="*/ 10090831 w 12192000"/>
              <a:gd name="connsiteY19" fmla="*/ 4652643 h 6858000"/>
              <a:gd name="connsiteX20" fmla="*/ 10063881 w 12192000"/>
              <a:gd name="connsiteY20" fmla="*/ 4692659 h 6858000"/>
              <a:gd name="connsiteX21" fmla="*/ 10035298 w 12192000"/>
              <a:gd name="connsiteY21" fmla="*/ 4731859 h 6858000"/>
              <a:gd name="connsiteX22" fmla="*/ 10006715 w 12192000"/>
              <a:gd name="connsiteY22" fmla="*/ 4770242 h 6858000"/>
              <a:gd name="connsiteX23" fmla="*/ 9976499 w 12192000"/>
              <a:gd name="connsiteY23" fmla="*/ 4805358 h 6858000"/>
              <a:gd name="connsiteX24" fmla="*/ 9944649 w 12192000"/>
              <a:gd name="connsiteY24" fmla="*/ 4839658 h 6858000"/>
              <a:gd name="connsiteX25" fmla="*/ 9912800 w 12192000"/>
              <a:gd name="connsiteY25" fmla="*/ 4873141 h 6858000"/>
              <a:gd name="connsiteX26" fmla="*/ 9880950 w 12192000"/>
              <a:gd name="connsiteY26" fmla="*/ 4904990 h 6858000"/>
              <a:gd name="connsiteX27" fmla="*/ 9847467 w 12192000"/>
              <a:gd name="connsiteY27" fmla="*/ 4935207 h 6858000"/>
              <a:gd name="connsiteX28" fmla="*/ 9814801 w 12192000"/>
              <a:gd name="connsiteY28" fmla="*/ 4963790 h 6858000"/>
              <a:gd name="connsiteX29" fmla="*/ 9779684 w 12192000"/>
              <a:gd name="connsiteY29" fmla="*/ 4992373 h 6858000"/>
              <a:gd name="connsiteX30" fmla="*/ 9744568 w 12192000"/>
              <a:gd name="connsiteY30" fmla="*/ 5019323 h 6858000"/>
              <a:gd name="connsiteX31" fmla="*/ 9709452 w 12192000"/>
              <a:gd name="connsiteY31" fmla="*/ 5043006 h 6858000"/>
              <a:gd name="connsiteX32" fmla="*/ 9674335 w 12192000"/>
              <a:gd name="connsiteY32" fmla="*/ 5066689 h 6858000"/>
              <a:gd name="connsiteX33" fmla="*/ 9638403 w 12192000"/>
              <a:gd name="connsiteY33" fmla="*/ 5091188 h 6858000"/>
              <a:gd name="connsiteX34" fmla="*/ 9603286 w 12192000"/>
              <a:gd name="connsiteY34" fmla="*/ 5111605 h 6858000"/>
              <a:gd name="connsiteX35" fmla="*/ 9566537 w 12192000"/>
              <a:gd name="connsiteY35" fmla="*/ 5132021 h 6858000"/>
              <a:gd name="connsiteX36" fmla="*/ 9530604 w 12192000"/>
              <a:gd name="connsiteY36" fmla="*/ 5150805 h 6858000"/>
              <a:gd name="connsiteX37" fmla="*/ 9493854 w 12192000"/>
              <a:gd name="connsiteY37" fmla="*/ 5170404 h 6858000"/>
              <a:gd name="connsiteX38" fmla="*/ 9457104 w 12192000"/>
              <a:gd name="connsiteY38" fmla="*/ 5185921 h 6858000"/>
              <a:gd name="connsiteX39" fmla="*/ 9384422 w 12192000"/>
              <a:gd name="connsiteY39" fmla="*/ 5217770 h 6858000"/>
              <a:gd name="connsiteX40" fmla="*/ 9312556 w 12192000"/>
              <a:gd name="connsiteY40" fmla="*/ 5244720 h 6858000"/>
              <a:gd name="connsiteX41" fmla="*/ 9241507 w 12192000"/>
              <a:gd name="connsiteY41" fmla="*/ 5268403 h 6858000"/>
              <a:gd name="connsiteX42" fmla="*/ 9171274 w 12192000"/>
              <a:gd name="connsiteY42" fmla="*/ 5289636 h 6858000"/>
              <a:gd name="connsiteX43" fmla="*/ 9105125 w 12192000"/>
              <a:gd name="connsiteY43" fmla="*/ 5306786 h 6858000"/>
              <a:gd name="connsiteX44" fmla="*/ 9039792 w 12192000"/>
              <a:gd name="connsiteY44" fmla="*/ 5321486 h 6858000"/>
              <a:gd name="connsiteX45" fmla="*/ 8977726 w 12192000"/>
              <a:gd name="connsiteY45" fmla="*/ 5333736 h 6858000"/>
              <a:gd name="connsiteX46" fmla="*/ 8918927 w 12192000"/>
              <a:gd name="connsiteY46" fmla="*/ 5343536 h 6858000"/>
              <a:gd name="connsiteX47" fmla="*/ 8865028 w 12192000"/>
              <a:gd name="connsiteY47" fmla="*/ 5350886 h 6858000"/>
              <a:gd name="connsiteX48" fmla="*/ 8814395 w 12192000"/>
              <a:gd name="connsiteY48" fmla="*/ 5355786 h 6858000"/>
              <a:gd name="connsiteX49" fmla="*/ 8769479 w 12192000"/>
              <a:gd name="connsiteY49" fmla="*/ 5359052 h 6858000"/>
              <a:gd name="connsiteX50" fmla="*/ 8730279 w 12192000"/>
              <a:gd name="connsiteY50" fmla="*/ 5362319 h 6858000"/>
              <a:gd name="connsiteX51" fmla="*/ 8668213 w 12192000"/>
              <a:gd name="connsiteY51" fmla="*/ 5363952 h 6858000"/>
              <a:gd name="connsiteX52" fmla="*/ 0 w 12192000"/>
              <a:gd name="connsiteY52" fmla="*/ 5363952 h 6858000"/>
              <a:gd name="connsiteX53" fmla="*/ 0 w 12192000"/>
              <a:gd name="connsiteY53" fmla="*/ 6858000 h 6858000"/>
              <a:gd name="connsiteX54" fmla="*/ 12192000 w 12192000"/>
              <a:gd name="connsiteY5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10341545" y="0"/>
                </a:lnTo>
                <a:lnTo>
                  <a:pt x="10341545" y="3690620"/>
                </a:lnTo>
                <a:lnTo>
                  <a:pt x="10339912" y="3761669"/>
                </a:lnTo>
                <a:lnTo>
                  <a:pt x="10336645" y="3831902"/>
                </a:lnTo>
                <a:lnTo>
                  <a:pt x="10331745" y="3899684"/>
                </a:lnTo>
                <a:lnTo>
                  <a:pt x="10326028" y="3966650"/>
                </a:lnTo>
                <a:lnTo>
                  <a:pt x="10316229" y="4030350"/>
                </a:lnTo>
                <a:lnTo>
                  <a:pt x="10306429" y="4092416"/>
                </a:lnTo>
                <a:lnTo>
                  <a:pt x="10294179" y="4152032"/>
                </a:lnTo>
                <a:lnTo>
                  <a:pt x="10279479" y="4209198"/>
                </a:lnTo>
                <a:lnTo>
                  <a:pt x="10265596" y="4266364"/>
                </a:lnTo>
                <a:lnTo>
                  <a:pt x="10247629" y="4321080"/>
                </a:lnTo>
                <a:lnTo>
                  <a:pt x="10228846" y="4373346"/>
                </a:lnTo>
                <a:lnTo>
                  <a:pt x="10210063" y="4423979"/>
                </a:lnTo>
                <a:lnTo>
                  <a:pt x="10187197" y="4472978"/>
                </a:lnTo>
                <a:lnTo>
                  <a:pt x="10165147" y="4521161"/>
                </a:lnTo>
                <a:lnTo>
                  <a:pt x="10141464" y="4565261"/>
                </a:lnTo>
                <a:lnTo>
                  <a:pt x="10116147" y="4609360"/>
                </a:lnTo>
                <a:lnTo>
                  <a:pt x="10090831" y="4652643"/>
                </a:lnTo>
                <a:lnTo>
                  <a:pt x="10063881" y="4692659"/>
                </a:lnTo>
                <a:lnTo>
                  <a:pt x="10035298" y="4731859"/>
                </a:lnTo>
                <a:lnTo>
                  <a:pt x="10006715" y="4770242"/>
                </a:lnTo>
                <a:lnTo>
                  <a:pt x="9976499" y="4805358"/>
                </a:lnTo>
                <a:lnTo>
                  <a:pt x="9944649" y="4839658"/>
                </a:lnTo>
                <a:lnTo>
                  <a:pt x="9912800" y="4873141"/>
                </a:lnTo>
                <a:lnTo>
                  <a:pt x="9880950" y="4904990"/>
                </a:lnTo>
                <a:lnTo>
                  <a:pt x="9847467" y="4935207"/>
                </a:lnTo>
                <a:lnTo>
                  <a:pt x="9814801" y="4963790"/>
                </a:lnTo>
                <a:lnTo>
                  <a:pt x="9779684" y="4992373"/>
                </a:lnTo>
                <a:lnTo>
                  <a:pt x="9744568" y="5019323"/>
                </a:lnTo>
                <a:lnTo>
                  <a:pt x="9709452" y="5043006"/>
                </a:lnTo>
                <a:lnTo>
                  <a:pt x="9674335" y="5066689"/>
                </a:lnTo>
                <a:lnTo>
                  <a:pt x="9638403" y="5091188"/>
                </a:lnTo>
                <a:lnTo>
                  <a:pt x="9603286" y="5111605"/>
                </a:lnTo>
                <a:lnTo>
                  <a:pt x="9566537" y="5132021"/>
                </a:lnTo>
                <a:lnTo>
                  <a:pt x="9530604" y="5150805"/>
                </a:lnTo>
                <a:lnTo>
                  <a:pt x="9493854" y="5170404"/>
                </a:lnTo>
                <a:lnTo>
                  <a:pt x="9457104" y="5185921"/>
                </a:lnTo>
                <a:lnTo>
                  <a:pt x="9384422" y="5217770"/>
                </a:lnTo>
                <a:lnTo>
                  <a:pt x="9312556" y="5244720"/>
                </a:lnTo>
                <a:lnTo>
                  <a:pt x="9241507" y="5268403"/>
                </a:lnTo>
                <a:lnTo>
                  <a:pt x="9171274" y="5289636"/>
                </a:lnTo>
                <a:lnTo>
                  <a:pt x="9105125" y="5306786"/>
                </a:lnTo>
                <a:lnTo>
                  <a:pt x="9039792" y="5321486"/>
                </a:lnTo>
                <a:lnTo>
                  <a:pt x="8977726" y="5333736"/>
                </a:lnTo>
                <a:lnTo>
                  <a:pt x="8918927" y="5343536"/>
                </a:lnTo>
                <a:lnTo>
                  <a:pt x="8865028" y="5350886"/>
                </a:lnTo>
                <a:lnTo>
                  <a:pt x="8814395" y="5355786"/>
                </a:lnTo>
                <a:lnTo>
                  <a:pt x="8769479" y="5359052"/>
                </a:lnTo>
                <a:lnTo>
                  <a:pt x="8730279" y="5362319"/>
                </a:lnTo>
                <a:lnTo>
                  <a:pt x="8668213" y="5363952"/>
                </a:lnTo>
                <a:lnTo>
                  <a:pt x="0" y="5363952"/>
                </a:lnTo>
                <a:lnTo>
                  <a:pt x="0" y="6858000"/>
                </a:lnTo>
                <a:lnTo>
                  <a:pt x="12192000" y="6858000"/>
                </a:lnTo>
                <a:close/>
              </a:path>
            </a:pathLst>
          </a:custGeom>
          <a:solidFill>
            <a:srgbClr val="80C2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2" name="Forma Livre: Forma 33">
            <a:extLst>
              <a:ext uri="{FF2B5EF4-FFF2-40B4-BE49-F238E27FC236}">
                <a16:creationId xmlns:a16="http://schemas.microsoft.com/office/drawing/2014/main" id="{6A225325-566D-408B-BA06-ED62DDA149E1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837008" y="3295329"/>
            <a:ext cx="10348689" cy="2979131"/>
          </a:xfrm>
          <a:custGeom>
            <a:avLst/>
            <a:gdLst>
              <a:gd name="connsiteX0" fmla="*/ 10348689 w 10348689"/>
              <a:gd name="connsiteY0" fmla="*/ 0 h 2979131"/>
              <a:gd name="connsiteX1" fmla="*/ 10347056 w 10348689"/>
              <a:gd name="connsiteY1" fmla="*/ 71049 h 2979131"/>
              <a:gd name="connsiteX2" fmla="*/ 10343789 w 10348689"/>
              <a:gd name="connsiteY2" fmla="*/ 141282 h 2979131"/>
              <a:gd name="connsiteX3" fmla="*/ 10338889 w 10348689"/>
              <a:gd name="connsiteY3" fmla="*/ 209064 h 2979131"/>
              <a:gd name="connsiteX4" fmla="*/ 10333172 w 10348689"/>
              <a:gd name="connsiteY4" fmla="*/ 276030 h 2979131"/>
              <a:gd name="connsiteX5" fmla="*/ 10323373 w 10348689"/>
              <a:gd name="connsiteY5" fmla="*/ 339730 h 2979131"/>
              <a:gd name="connsiteX6" fmla="*/ 10313573 w 10348689"/>
              <a:gd name="connsiteY6" fmla="*/ 401796 h 2979131"/>
              <a:gd name="connsiteX7" fmla="*/ 10301323 w 10348689"/>
              <a:gd name="connsiteY7" fmla="*/ 461412 h 2979131"/>
              <a:gd name="connsiteX8" fmla="*/ 10286623 w 10348689"/>
              <a:gd name="connsiteY8" fmla="*/ 518578 h 2979131"/>
              <a:gd name="connsiteX9" fmla="*/ 10272740 w 10348689"/>
              <a:gd name="connsiteY9" fmla="*/ 575744 h 2979131"/>
              <a:gd name="connsiteX10" fmla="*/ 10254773 w 10348689"/>
              <a:gd name="connsiteY10" fmla="*/ 630460 h 2979131"/>
              <a:gd name="connsiteX11" fmla="*/ 10235990 w 10348689"/>
              <a:gd name="connsiteY11" fmla="*/ 682726 h 2979131"/>
              <a:gd name="connsiteX12" fmla="*/ 10217207 w 10348689"/>
              <a:gd name="connsiteY12" fmla="*/ 733359 h 2979131"/>
              <a:gd name="connsiteX13" fmla="*/ 10194341 w 10348689"/>
              <a:gd name="connsiteY13" fmla="*/ 782358 h 2979131"/>
              <a:gd name="connsiteX14" fmla="*/ 10172291 w 10348689"/>
              <a:gd name="connsiteY14" fmla="*/ 830541 h 2979131"/>
              <a:gd name="connsiteX15" fmla="*/ 10148608 w 10348689"/>
              <a:gd name="connsiteY15" fmla="*/ 874641 h 2979131"/>
              <a:gd name="connsiteX16" fmla="*/ 10123291 w 10348689"/>
              <a:gd name="connsiteY16" fmla="*/ 918740 h 2979131"/>
              <a:gd name="connsiteX17" fmla="*/ 10097975 w 10348689"/>
              <a:gd name="connsiteY17" fmla="*/ 962023 h 2979131"/>
              <a:gd name="connsiteX18" fmla="*/ 10071025 w 10348689"/>
              <a:gd name="connsiteY18" fmla="*/ 1002039 h 2979131"/>
              <a:gd name="connsiteX19" fmla="*/ 10042442 w 10348689"/>
              <a:gd name="connsiteY19" fmla="*/ 1041239 h 2979131"/>
              <a:gd name="connsiteX20" fmla="*/ 10013859 w 10348689"/>
              <a:gd name="connsiteY20" fmla="*/ 1079622 h 2979131"/>
              <a:gd name="connsiteX21" fmla="*/ 9983643 w 10348689"/>
              <a:gd name="connsiteY21" fmla="*/ 1114738 h 2979131"/>
              <a:gd name="connsiteX22" fmla="*/ 9951793 w 10348689"/>
              <a:gd name="connsiteY22" fmla="*/ 1149038 h 2979131"/>
              <a:gd name="connsiteX23" fmla="*/ 9919944 w 10348689"/>
              <a:gd name="connsiteY23" fmla="*/ 1182521 h 2979131"/>
              <a:gd name="connsiteX24" fmla="*/ 9888094 w 10348689"/>
              <a:gd name="connsiteY24" fmla="*/ 1214370 h 2979131"/>
              <a:gd name="connsiteX25" fmla="*/ 9854611 w 10348689"/>
              <a:gd name="connsiteY25" fmla="*/ 1244587 h 2979131"/>
              <a:gd name="connsiteX26" fmla="*/ 9821945 w 10348689"/>
              <a:gd name="connsiteY26" fmla="*/ 1273170 h 2979131"/>
              <a:gd name="connsiteX27" fmla="*/ 9786828 w 10348689"/>
              <a:gd name="connsiteY27" fmla="*/ 1301753 h 2979131"/>
              <a:gd name="connsiteX28" fmla="*/ 9751712 w 10348689"/>
              <a:gd name="connsiteY28" fmla="*/ 1328703 h 2979131"/>
              <a:gd name="connsiteX29" fmla="*/ 9716596 w 10348689"/>
              <a:gd name="connsiteY29" fmla="*/ 1352386 h 2979131"/>
              <a:gd name="connsiteX30" fmla="*/ 9681479 w 10348689"/>
              <a:gd name="connsiteY30" fmla="*/ 1376069 h 2979131"/>
              <a:gd name="connsiteX31" fmla="*/ 9645547 w 10348689"/>
              <a:gd name="connsiteY31" fmla="*/ 1400568 h 2979131"/>
              <a:gd name="connsiteX32" fmla="*/ 9610430 w 10348689"/>
              <a:gd name="connsiteY32" fmla="*/ 1420985 h 2979131"/>
              <a:gd name="connsiteX33" fmla="*/ 9573681 w 10348689"/>
              <a:gd name="connsiteY33" fmla="*/ 1441401 h 2979131"/>
              <a:gd name="connsiteX34" fmla="*/ 9537748 w 10348689"/>
              <a:gd name="connsiteY34" fmla="*/ 1460185 h 2979131"/>
              <a:gd name="connsiteX35" fmla="*/ 9500998 w 10348689"/>
              <a:gd name="connsiteY35" fmla="*/ 1479784 h 2979131"/>
              <a:gd name="connsiteX36" fmla="*/ 9464248 w 10348689"/>
              <a:gd name="connsiteY36" fmla="*/ 1495301 h 2979131"/>
              <a:gd name="connsiteX37" fmla="*/ 9391566 w 10348689"/>
              <a:gd name="connsiteY37" fmla="*/ 1527150 h 2979131"/>
              <a:gd name="connsiteX38" fmla="*/ 9319700 w 10348689"/>
              <a:gd name="connsiteY38" fmla="*/ 1554100 h 2979131"/>
              <a:gd name="connsiteX39" fmla="*/ 9248651 w 10348689"/>
              <a:gd name="connsiteY39" fmla="*/ 1577783 h 2979131"/>
              <a:gd name="connsiteX40" fmla="*/ 9178418 w 10348689"/>
              <a:gd name="connsiteY40" fmla="*/ 1599016 h 2979131"/>
              <a:gd name="connsiteX41" fmla="*/ 9112269 w 10348689"/>
              <a:gd name="connsiteY41" fmla="*/ 1616166 h 2979131"/>
              <a:gd name="connsiteX42" fmla="*/ 9046936 w 10348689"/>
              <a:gd name="connsiteY42" fmla="*/ 1630866 h 2979131"/>
              <a:gd name="connsiteX43" fmla="*/ 8984870 w 10348689"/>
              <a:gd name="connsiteY43" fmla="*/ 1643116 h 2979131"/>
              <a:gd name="connsiteX44" fmla="*/ 8926071 w 10348689"/>
              <a:gd name="connsiteY44" fmla="*/ 1652916 h 2979131"/>
              <a:gd name="connsiteX45" fmla="*/ 8872172 w 10348689"/>
              <a:gd name="connsiteY45" fmla="*/ 1660266 h 2979131"/>
              <a:gd name="connsiteX46" fmla="*/ 8821539 w 10348689"/>
              <a:gd name="connsiteY46" fmla="*/ 1665166 h 2979131"/>
              <a:gd name="connsiteX47" fmla="*/ 8776623 w 10348689"/>
              <a:gd name="connsiteY47" fmla="*/ 1668432 h 2979131"/>
              <a:gd name="connsiteX48" fmla="*/ 8737423 w 10348689"/>
              <a:gd name="connsiteY48" fmla="*/ 1671699 h 2979131"/>
              <a:gd name="connsiteX49" fmla="*/ 8675357 w 10348689"/>
              <a:gd name="connsiteY49" fmla="*/ 1673332 h 2979131"/>
              <a:gd name="connsiteX50" fmla="*/ 0 w 10348689"/>
              <a:gd name="connsiteY50" fmla="*/ 1673332 h 2979131"/>
              <a:gd name="connsiteX51" fmla="*/ 0 w 10348689"/>
              <a:gd name="connsiteY51" fmla="*/ 2979131 h 2979131"/>
              <a:gd name="connsiteX52" fmla="*/ 8675357 w 10348689"/>
              <a:gd name="connsiteY52" fmla="*/ 2979131 h 2979131"/>
              <a:gd name="connsiteX53" fmla="*/ 8737423 w 10348689"/>
              <a:gd name="connsiteY53" fmla="*/ 2977498 h 2979131"/>
              <a:gd name="connsiteX54" fmla="*/ 8776623 w 10348689"/>
              <a:gd name="connsiteY54" fmla="*/ 2974231 h 2979131"/>
              <a:gd name="connsiteX55" fmla="*/ 8821539 w 10348689"/>
              <a:gd name="connsiteY55" fmla="*/ 2970965 h 2979131"/>
              <a:gd name="connsiteX56" fmla="*/ 8872172 w 10348689"/>
              <a:gd name="connsiteY56" fmla="*/ 2966065 h 2979131"/>
              <a:gd name="connsiteX57" fmla="*/ 8926071 w 10348689"/>
              <a:gd name="connsiteY57" fmla="*/ 2958715 h 2979131"/>
              <a:gd name="connsiteX58" fmla="*/ 8984870 w 10348689"/>
              <a:gd name="connsiteY58" fmla="*/ 2948915 h 2979131"/>
              <a:gd name="connsiteX59" fmla="*/ 9046936 w 10348689"/>
              <a:gd name="connsiteY59" fmla="*/ 2936665 h 2979131"/>
              <a:gd name="connsiteX60" fmla="*/ 9112269 w 10348689"/>
              <a:gd name="connsiteY60" fmla="*/ 2921965 h 2979131"/>
              <a:gd name="connsiteX61" fmla="*/ 9178418 w 10348689"/>
              <a:gd name="connsiteY61" fmla="*/ 2904815 h 2979131"/>
              <a:gd name="connsiteX62" fmla="*/ 9248651 w 10348689"/>
              <a:gd name="connsiteY62" fmla="*/ 2883582 h 2979131"/>
              <a:gd name="connsiteX63" fmla="*/ 9319700 w 10348689"/>
              <a:gd name="connsiteY63" fmla="*/ 2859899 h 2979131"/>
              <a:gd name="connsiteX64" fmla="*/ 9391566 w 10348689"/>
              <a:gd name="connsiteY64" fmla="*/ 2832949 h 2979131"/>
              <a:gd name="connsiteX65" fmla="*/ 9464248 w 10348689"/>
              <a:gd name="connsiteY65" fmla="*/ 2801100 h 2979131"/>
              <a:gd name="connsiteX66" fmla="*/ 9500998 w 10348689"/>
              <a:gd name="connsiteY66" fmla="*/ 2785583 h 2979131"/>
              <a:gd name="connsiteX67" fmla="*/ 9537748 w 10348689"/>
              <a:gd name="connsiteY67" fmla="*/ 2765984 h 2979131"/>
              <a:gd name="connsiteX68" fmla="*/ 9573681 w 10348689"/>
              <a:gd name="connsiteY68" fmla="*/ 2747200 h 2979131"/>
              <a:gd name="connsiteX69" fmla="*/ 9610430 w 10348689"/>
              <a:gd name="connsiteY69" fmla="*/ 2726784 h 2979131"/>
              <a:gd name="connsiteX70" fmla="*/ 9645547 w 10348689"/>
              <a:gd name="connsiteY70" fmla="*/ 2706367 h 2979131"/>
              <a:gd name="connsiteX71" fmla="*/ 9681479 w 10348689"/>
              <a:gd name="connsiteY71" fmla="*/ 2681868 h 2979131"/>
              <a:gd name="connsiteX72" fmla="*/ 9716596 w 10348689"/>
              <a:gd name="connsiteY72" fmla="*/ 2658185 h 2979131"/>
              <a:gd name="connsiteX73" fmla="*/ 9751712 w 10348689"/>
              <a:gd name="connsiteY73" fmla="*/ 2634502 h 2979131"/>
              <a:gd name="connsiteX74" fmla="*/ 9786828 w 10348689"/>
              <a:gd name="connsiteY74" fmla="*/ 2607552 h 2979131"/>
              <a:gd name="connsiteX75" fmla="*/ 9821945 w 10348689"/>
              <a:gd name="connsiteY75" fmla="*/ 2578969 h 2979131"/>
              <a:gd name="connsiteX76" fmla="*/ 9854611 w 10348689"/>
              <a:gd name="connsiteY76" fmla="*/ 2550386 h 2979131"/>
              <a:gd name="connsiteX77" fmla="*/ 9888094 w 10348689"/>
              <a:gd name="connsiteY77" fmla="*/ 2520169 h 2979131"/>
              <a:gd name="connsiteX78" fmla="*/ 9919944 w 10348689"/>
              <a:gd name="connsiteY78" fmla="*/ 2488320 h 2979131"/>
              <a:gd name="connsiteX79" fmla="*/ 9951793 w 10348689"/>
              <a:gd name="connsiteY79" fmla="*/ 2454837 h 2979131"/>
              <a:gd name="connsiteX80" fmla="*/ 9983643 w 10348689"/>
              <a:gd name="connsiteY80" fmla="*/ 2420537 h 2979131"/>
              <a:gd name="connsiteX81" fmla="*/ 10013859 w 10348689"/>
              <a:gd name="connsiteY81" fmla="*/ 2385421 h 2979131"/>
              <a:gd name="connsiteX82" fmla="*/ 10042442 w 10348689"/>
              <a:gd name="connsiteY82" fmla="*/ 2347038 h 2979131"/>
              <a:gd name="connsiteX83" fmla="*/ 10071025 w 10348689"/>
              <a:gd name="connsiteY83" fmla="*/ 2307838 h 2979131"/>
              <a:gd name="connsiteX84" fmla="*/ 10097975 w 10348689"/>
              <a:gd name="connsiteY84" fmla="*/ 2267822 h 2979131"/>
              <a:gd name="connsiteX85" fmla="*/ 10123291 w 10348689"/>
              <a:gd name="connsiteY85" fmla="*/ 2224539 h 2979131"/>
              <a:gd name="connsiteX86" fmla="*/ 10148608 w 10348689"/>
              <a:gd name="connsiteY86" fmla="*/ 2180440 h 2979131"/>
              <a:gd name="connsiteX87" fmla="*/ 10172291 w 10348689"/>
              <a:gd name="connsiteY87" fmla="*/ 2136340 h 2979131"/>
              <a:gd name="connsiteX88" fmla="*/ 10194341 w 10348689"/>
              <a:gd name="connsiteY88" fmla="*/ 2088157 h 2979131"/>
              <a:gd name="connsiteX89" fmla="*/ 10217207 w 10348689"/>
              <a:gd name="connsiteY89" fmla="*/ 2039158 h 2979131"/>
              <a:gd name="connsiteX90" fmla="*/ 10235990 w 10348689"/>
              <a:gd name="connsiteY90" fmla="*/ 1988525 h 2979131"/>
              <a:gd name="connsiteX91" fmla="*/ 10254773 w 10348689"/>
              <a:gd name="connsiteY91" fmla="*/ 1936259 h 2979131"/>
              <a:gd name="connsiteX92" fmla="*/ 10272740 w 10348689"/>
              <a:gd name="connsiteY92" fmla="*/ 1881543 h 2979131"/>
              <a:gd name="connsiteX93" fmla="*/ 10286623 w 10348689"/>
              <a:gd name="connsiteY93" fmla="*/ 1824377 h 2979131"/>
              <a:gd name="connsiteX94" fmla="*/ 10301323 w 10348689"/>
              <a:gd name="connsiteY94" fmla="*/ 1767211 h 2979131"/>
              <a:gd name="connsiteX95" fmla="*/ 10313573 w 10348689"/>
              <a:gd name="connsiteY95" fmla="*/ 1707595 h 2979131"/>
              <a:gd name="connsiteX96" fmla="*/ 10323373 w 10348689"/>
              <a:gd name="connsiteY96" fmla="*/ 1645529 h 2979131"/>
              <a:gd name="connsiteX97" fmla="*/ 10333172 w 10348689"/>
              <a:gd name="connsiteY97" fmla="*/ 1581829 h 2979131"/>
              <a:gd name="connsiteX98" fmla="*/ 10338889 w 10348689"/>
              <a:gd name="connsiteY98" fmla="*/ 1514863 h 2979131"/>
              <a:gd name="connsiteX99" fmla="*/ 10343789 w 10348689"/>
              <a:gd name="connsiteY99" fmla="*/ 1447081 h 2979131"/>
              <a:gd name="connsiteX100" fmla="*/ 10347056 w 10348689"/>
              <a:gd name="connsiteY100" fmla="*/ 1376848 h 2979131"/>
              <a:gd name="connsiteX101" fmla="*/ 10348689 w 10348689"/>
              <a:gd name="connsiteY101" fmla="*/ 1305799 h 2979131"/>
              <a:gd name="connsiteX102" fmla="*/ 10348689 w 10348689"/>
              <a:gd name="connsiteY102" fmla="*/ 0 h 297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10348689" h="2979131">
                <a:moveTo>
                  <a:pt x="10348689" y="0"/>
                </a:moveTo>
                <a:lnTo>
                  <a:pt x="10347056" y="71049"/>
                </a:lnTo>
                <a:lnTo>
                  <a:pt x="10343789" y="141282"/>
                </a:lnTo>
                <a:lnTo>
                  <a:pt x="10338889" y="209064"/>
                </a:lnTo>
                <a:lnTo>
                  <a:pt x="10333172" y="276030"/>
                </a:lnTo>
                <a:lnTo>
                  <a:pt x="10323373" y="339730"/>
                </a:lnTo>
                <a:lnTo>
                  <a:pt x="10313573" y="401796"/>
                </a:lnTo>
                <a:lnTo>
                  <a:pt x="10301323" y="461412"/>
                </a:lnTo>
                <a:lnTo>
                  <a:pt x="10286623" y="518578"/>
                </a:lnTo>
                <a:lnTo>
                  <a:pt x="10272740" y="575744"/>
                </a:lnTo>
                <a:lnTo>
                  <a:pt x="10254773" y="630460"/>
                </a:lnTo>
                <a:lnTo>
                  <a:pt x="10235990" y="682726"/>
                </a:lnTo>
                <a:lnTo>
                  <a:pt x="10217207" y="733359"/>
                </a:lnTo>
                <a:lnTo>
                  <a:pt x="10194341" y="782358"/>
                </a:lnTo>
                <a:lnTo>
                  <a:pt x="10172291" y="830541"/>
                </a:lnTo>
                <a:lnTo>
                  <a:pt x="10148608" y="874641"/>
                </a:lnTo>
                <a:lnTo>
                  <a:pt x="10123291" y="918740"/>
                </a:lnTo>
                <a:lnTo>
                  <a:pt x="10097975" y="962023"/>
                </a:lnTo>
                <a:lnTo>
                  <a:pt x="10071025" y="1002039"/>
                </a:lnTo>
                <a:lnTo>
                  <a:pt x="10042442" y="1041239"/>
                </a:lnTo>
                <a:lnTo>
                  <a:pt x="10013859" y="1079622"/>
                </a:lnTo>
                <a:lnTo>
                  <a:pt x="9983643" y="1114738"/>
                </a:lnTo>
                <a:lnTo>
                  <a:pt x="9951793" y="1149038"/>
                </a:lnTo>
                <a:lnTo>
                  <a:pt x="9919944" y="1182521"/>
                </a:lnTo>
                <a:lnTo>
                  <a:pt x="9888094" y="1214370"/>
                </a:lnTo>
                <a:lnTo>
                  <a:pt x="9854611" y="1244587"/>
                </a:lnTo>
                <a:lnTo>
                  <a:pt x="9821945" y="1273170"/>
                </a:lnTo>
                <a:lnTo>
                  <a:pt x="9786828" y="1301753"/>
                </a:lnTo>
                <a:lnTo>
                  <a:pt x="9751712" y="1328703"/>
                </a:lnTo>
                <a:lnTo>
                  <a:pt x="9716596" y="1352386"/>
                </a:lnTo>
                <a:lnTo>
                  <a:pt x="9681479" y="1376069"/>
                </a:lnTo>
                <a:lnTo>
                  <a:pt x="9645547" y="1400568"/>
                </a:lnTo>
                <a:lnTo>
                  <a:pt x="9610430" y="1420985"/>
                </a:lnTo>
                <a:lnTo>
                  <a:pt x="9573681" y="1441401"/>
                </a:lnTo>
                <a:lnTo>
                  <a:pt x="9537748" y="1460185"/>
                </a:lnTo>
                <a:lnTo>
                  <a:pt x="9500998" y="1479784"/>
                </a:lnTo>
                <a:lnTo>
                  <a:pt x="9464248" y="1495301"/>
                </a:lnTo>
                <a:lnTo>
                  <a:pt x="9391566" y="1527150"/>
                </a:lnTo>
                <a:lnTo>
                  <a:pt x="9319700" y="1554100"/>
                </a:lnTo>
                <a:lnTo>
                  <a:pt x="9248651" y="1577783"/>
                </a:lnTo>
                <a:lnTo>
                  <a:pt x="9178418" y="1599016"/>
                </a:lnTo>
                <a:lnTo>
                  <a:pt x="9112269" y="1616166"/>
                </a:lnTo>
                <a:lnTo>
                  <a:pt x="9046936" y="1630866"/>
                </a:lnTo>
                <a:lnTo>
                  <a:pt x="8984870" y="1643116"/>
                </a:lnTo>
                <a:lnTo>
                  <a:pt x="8926071" y="1652916"/>
                </a:lnTo>
                <a:lnTo>
                  <a:pt x="8872172" y="1660266"/>
                </a:lnTo>
                <a:lnTo>
                  <a:pt x="8821539" y="1665166"/>
                </a:lnTo>
                <a:lnTo>
                  <a:pt x="8776623" y="1668432"/>
                </a:lnTo>
                <a:lnTo>
                  <a:pt x="8737423" y="1671699"/>
                </a:lnTo>
                <a:lnTo>
                  <a:pt x="8675357" y="1673332"/>
                </a:lnTo>
                <a:lnTo>
                  <a:pt x="0" y="1673332"/>
                </a:lnTo>
                <a:lnTo>
                  <a:pt x="0" y="2979131"/>
                </a:lnTo>
                <a:lnTo>
                  <a:pt x="8675357" y="2979131"/>
                </a:lnTo>
                <a:lnTo>
                  <a:pt x="8737423" y="2977498"/>
                </a:lnTo>
                <a:lnTo>
                  <a:pt x="8776623" y="2974231"/>
                </a:lnTo>
                <a:lnTo>
                  <a:pt x="8821539" y="2970965"/>
                </a:lnTo>
                <a:lnTo>
                  <a:pt x="8872172" y="2966065"/>
                </a:lnTo>
                <a:lnTo>
                  <a:pt x="8926071" y="2958715"/>
                </a:lnTo>
                <a:lnTo>
                  <a:pt x="8984870" y="2948915"/>
                </a:lnTo>
                <a:lnTo>
                  <a:pt x="9046936" y="2936665"/>
                </a:lnTo>
                <a:lnTo>
                  <a:pt x="9112269" y="2921965"/>
                </a:lnTo>
                <a:lnTo>
                  <a:pt x="9178418" y="2904815"/>
                </a:lnTo>
                <a:lnTo>
                  <a:pt x="9248651" y="2883582"/>
                </a:lnTo>
                <a:lnTo>
                  <a:pt x="9319700" y="2859899"/>
                </a:lnTo>
                <a:lnTo>
                  <a:pt x="9391566" y="2832949"/>
                </a:lnTo>
                <a:lnTo>
                  <a:pt x="9464248" y="2801100"/>
                </a:lnTo>
                <a:lnTo>
                  <a:pt x="9500998" y="2785583"/>
                </a:lnTo>
                <a:lnTo>
                  <a:pt x="9537748" y="2765984"/>
                </a:lnTo>
                <a:lnTo>
                  <a:pt x="9573681" y="2747200"/>
                </a:lnTo>
                <a:lnTo>
                  <a:pt x="9610430" y="2726784"/>
                </a:lnTo>
                <a:lnTo>
                  <a:pt x="9645547" y="2706367"/>
                </a:lnTo>
                <a:lnTo>
                  <a:pt x="9681479" y="2681868"/>
                </a:lnTo>
                <a:lnTo>
                  <a:pt x="9716596" y="2658185"/>
                </a:lnTo>
                <a:lnTo>
                  <a:pt x="9751712" y="2634502"/>
                </a:lnTo>
                <a:lnTo>
                  <a:pt x="9786828" y="2607552"/>
                </a:lnTo>
                <a:lnTo>
                  <a:pt x="9821945" y="2578969"/>
                </a:lnTo>
                <a:lnTo>
                  <a:pt x="9854611" y="2550386"/>
                </a:lnTo>
                <a:lnTo>
                  <a:pt x="9888094" y="2520169"/>
                </a:lnTo>
                <a:lnTo>
                  <a:pt x="9919944" y="2488320"/>
                </a:lnTo>
                <a:lnTo>
                  <a:pt x="9951793" y="2454837"/>
                </a:lnTo>
                <a:lnTo>
                  <a:pt x="9983643" y="2420537"/>
                </a:lnTo>
                <a:lnTo>
                  <a:pt x="10013859" y="2385421"/>
                </a:lnTo>
                <a:lnTo>
                  <a:pt x="10042442" y="2347038"/>
                </a:lnTo>
                <a:lnTo>
                  <a:pt x="10071025" y="2307838"/>
                </a:lnTo>
                <a:lnTo>
                  <a:pt x="10097975" y="2267822"/>
                </a:lnTo>
                <a:lnTo>
                  <a:pt x="10123291" y="2224539"/>
                </a:lnTo>
                <a:lnTo>
                  <a:pt x="10148608" y="2180440"/>
                </a:lnTo>
                <a:lnTo>
                  <a:pt x="10172291" y="2136340"/>
                </a:lnTo>
                <a:lnTo>
                  <a:pt x="10194341" y="2088157"/>
                </a:lnTo>
                <a:lnTo>
                  <a:pt x="10217207" y="2039158"/>
                </a:lnTo>
                <a:lnTo>
                  <a:pt x="10235990" y="1988525"/>
                </a:lnTo>
                <a:lnTo>
                  <a:pt x="10254773" y="1936259"/>
                </a:lnTo>
                <a:lnTo>
                  <a:pt x="10272740" y="1881543"/>
                </a:lnTo>
                <a:lnTo>
                  <a:pt x="10286623" y="1824377"/>
                </a:lnTo>
                <a:lnTo>
                  <a:pt x="10301323" y="1767211"/>
                </a:lnTo>
                <a:lnTo>
                  <a:pt x="10313573" y="1707595"/>
                </a:lnTo>
                <a:lnTo>
                  <a:pt x="10323373" y="1645529"/>
                </a:lnTo>
                <a:lnTo>
                  <a:pt x="10333172" y="1581829"/>
                </a:lnTo>
                <a:lnTo>
                  <a:pt x="10338889" y="1514863"/>
                </a:lnTo>
                <a:lnTo>
                  <a:pt x="10343789" y="1447081"/>
                </a:lnTo>
                <a:lnTo>
                  <a:pt x="10347056" y="1376848"/>
                </a:lnTo>
                <a:lnTo>
                  <a:pt x="10348689" y="1305799"/>
                </a:lnTo>
                <a:lnTo>
                  <a:pt x="10348689" y="0"/>
                </a:lnTo>
                <a:close/>
              </a:path>
            </a:pathLst>
          </a:custGeom>
          <a:solidFill>
            <a:srgbClr val="18558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/>
          </a:p>
        </p:txBody>
      </p:sp>
      <p:grpSp>
        <p:nvGrpSpPr>
          <p:cNvPr id="13" name="Rodapé">
            <a:extLst>
              <a:ext uri="{FF2B5EF4-FFF2-40B4-BE49-F238E27FC236}">
                <a16:creationId xmlns:a16="http://schemas.microsoft.com/office/drawing/2014/main" id="{B08E097B-26EA-414C-B80E-F49873F54754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FE3D0D3D-1DCA-44D6-A68F-7B266D8BF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03E9C69E-3DA7-46D8-95FB-368438271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  <p:sp>
        <p:nvSpPr>
          <p:cNvPr id="16" name="Retângulo: Cantos Arredondados 1">
            <a:extLst>
              <a:ext uri="{FF2B5EF4-FFF2-40B4-BE49-F238E27FC236}">
                <a16:creationId xmlns:a16="http://schemas.microsoft.com/office/drawing/2014/main" id="{5E88DE79-E74D-42A1-A369-2C06180D5615}"/>
              </a:ext>
            </a:extLst>
          </p:cNvPr>
          <p:cNvSpPr/>
          <p:nvPr userDrawn="1"/>
        </p:nvSpPr>
        <p:spPr>
          <a:xfrm>
            <a:off x="4482920" y="1637778"/>
            <a:ext cx="5664993" cy="2966717"/>
          </a:xfrm>
          <a:prstGeom prst="roundRect">
            <a:avLst>
              <a:gd name="adj" fmla="val 2748"/>
            </a:avLst>
          </a:prstGeom>
          <a:solidFill>
            <a:schemeClr val="bg1">
              <a:alpha val="82000"/>
            </a:schemeClr>
          </a:solidFill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: Cantos Arredondados 30">
            <a:extLst>
              <a:ext uri="{FF2B5EF4-FFF2-40B4-BE49-F238E27FC236}">
                <a16:creationId xmlns:a16="http://schemas.microsoft.com/office/drawing/2014/main" id="{8E75EDBF-050A-4DBF-A7ED-FB8517BCA871}"/>
              </a:ext>
            </a:extLst>
          </p:cNvPr>
          <p:cNvSpPr/>
          <p:nvPr userDrawn="1"/>
        </p:nvSpPr>
        <p:spPr>
          <a:xfrm>
            <a:off x="4595227" y="1729775"/>
            <a:ext cx="5440377" cy="2782722"/>
          </a:xfrm>
          <a:prstGeom prst="roundRect">
            <a:avLst>
              <a:gd name="adj" fmla="val 2748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2293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odapé">
            <a:extLst>
              <a:ext uri="{FF2B5EF4-FFF2-40B4-BE49-F238E27FC236}">
                <a16:creationId xmlns:a16="http://schemas.microsoft.com/office/drawing/2014/main" id="{FF805DA6-ED4D-415F-999F-7579FD002132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9323386A-51DA-4C07-84F7-53CA47CD1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C8B51040-2761-4066-8691-582C54817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04289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vre: Forma 35">
            <a:extLst>
              <a:ext uri="{FF2B5EF4-FFF2-40B4-BE49-F238E27FC236}">
                <a16:creationId xmlns:a16="http://schemas.microsoft.com/office/drawing/2014/main" id="{FD8B70FF-6B96-49E3-9032-09A77D7B9237}"/>
              </a:ext>
            </a:extLst>
          </p:cNvPr>
          <p:cNvSpPr/>
          <p:nvPr userDrawn="1"/>
        </p:nvSpPr>
        <p:spPr>
          <a:xfrm flipH="1">
            <a:off x="-1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10341545 w 12192000"/>
              <a:gd name="connsiteY1" fmla="*/ 0 h 6858000"/>
              <a:gd name="connsiteX2" fmla="*/ 10341545 w 12192000"/>
              <a:gd name="connsiteY2" fmla="*/ 3690620 h 6858000"/>
              <a:gd name="connsiteX3" fmla="*/ 10339912 w 12192000"/>
              <a:gd name="connsiteY3" fmla="*/ 3761669 h 6858000"/>
              <a:gd name="connsiteX4" fmla="*/ 10336645 w 12192000"/>
              <a:gd name="connsiteY4" fmla="*/ 3831902 h 6858000"/>
              <a:gd name="connsiteX5" fmla="*/ 10331745 w 12192000"/>
              <a:gd name="connsiteY5" fmla="*/ 3899684 h 6858000"/>
              <a:gd name="connsiteX6" fmla="*/ 10326028 w 12192000"/>
              <a:gd name="connsiteY6" fmla="*/ 3966650 h 6858000"/>
              <a:gd name="connsiteX7" fmla="*/ 10316229 w 12192000"/>
              <a:gd name="connsiteY7" fmla="*/ 4030350 h 6858000"/>
              <a:gd name="connsiteX8" fmla="*/ 10306429 w 12192000"/>
              <a:gd name="connsiteY8" fmla="*/ 4092416 h 6858000"/>
              <a:gd name="connsiteX9" fmla="*/ 10294179 w 12192000"/>
              <a:gd name="connsiteY9" fmla="*/ 4152032 h 6858000"/>
              <a:gd name="connsiteX10" fmla="*/ 10279479 w 12192000"/>
              <a:gd name="connsiteY10" fmla="*/ 4209198 h 6858000"/>
              <a:gd name="connsiteX11" fmla="*/ 10265596 w 12192000"/>
              <a:gd name="connsiteY11" fmla="*/ 4266364 h 6858000"/>
              <a:gd name="connsiteX12" fmla="*/ 10247629 w 12192000"/>
              <a:gd name="connsiteY12" fmla="*/ 4321080 h 6858000"/>
              <a:gd name="connsiteX13" fmla="*/ 10228846 w 12192000"/>
              <a:gd name="connsiteY13" fmla="*/ 4373346 h 6858000"/>
              <a:gd name="connsiteX14" fmla="*/ 10210063 w 12192000"/>
              <a:gd name="connsiteY14" fmla="*/ 4423979 h 6858000"/>
              <a:gd name="connsiteX15" fmla="*/ 10187197 w 12192000"/>
              <a:gd name="connsiteY15" fmla="*/ 4472978 h 6858000"/>
              <a:gd name="connsiteX16" fmla="*/ 10165147 w 12192000"/>
              <a:gd name="connsiteY16" fmla="*/ 4521161 h 6858000"/>
              <a:gd name="connsiteX17" fmla="*/ 10141464 w 12192000"/>
              <a:gd name="connsiteY17" fmla="*/ 4565261 h 6858000"/>
              <a:gd name="connsiteX18" fmla="*/ 10116147 w 12192000"/>
              <a:gd name="connsiteY18" fmla="*/ 4609360 h 6858000"/>
              <a:gd name="connsiteX19" fmla="*/ 10090831 w 12192000"/>
              <a:gd name="connsiteY19" fmla="*/ 4652643 h 6858000"/>
              <a:gd name="connsiteX20" fmla="*/ 10063881 w 12192000"/>
              <a:gd name="connsiteY20" fmla="*/ 4692659 h 6858000"/>
              <a:gd name="connsiteX21" fmla="*/ 10035298 w 12192000"/>
              <a:gd name="connsiteY21" fmla="*/ 4731859 h 6858000"/>
              <a:gd name="connsiteX22" fmla="*/ 10006715 w 12192000"/>
              <a:gd name="connsiteY22" fmla="*/ 4770242 h 6858000"/>
              <a:gd name="connsiteX23" fmla="*/ 9976499 w 12192000"/>
              <a:gd name="connsiteY23" fmla="*/ 4805358 h 6858000"/>
              <a:gd name="connsiteX24" fmla="*/ 9944649 w 12192000"/>
              <a:gd name="connsiteY24" fmla="*/ 4839658 h 6858000"/>
              <a:gd name="connsiteX25" fmla="*/ 9912800 w 12192000"/>
              <a:gd name="connsiteY25" fmla="*/ 4873141 h 6858000"/>
              <a:gd name="connsiteX26" fmla="*/ 9880950 w 12192000"/>
              <a:gd name="connsiteY26" fmla="*/ 4904990 h 6858000"/>
              <a:gd name="connsiteX27" fmla="*/ 9847467 w 12192000"/>
              <a:gd name="connsiteY27" fmla="*/ 4935207 h 6858000"/>
              <a:gd name="connsiteX28" fmla="*/ 9814801 w 12192000"/>
              <a:gd name="connsiteY28" fmla="*/ 4963790 h 6858000"/>
              <a:gd name="connsiteX29" fmla="*/ 9779684 w 12192000"/>
              <a:gd name="connsiteY29" fmla="*/ 4992373 h 6858000"/>
              <a:gd name="connsiteX30" fmla="*/ 9744568 w 12192000"/>
              <a:gd name="connsiteY30" fmla="*/ 5019323 h 6858000"/>
              <a:gd name="connsiteX31" fmla="*/ 9709452 w 12192000"/>
              <a:gd name="connsiteY31" fmla="*/ 5043006 h 6858000"/>
              <a:gd name="connsiteX32" fmla="*/ 9674335 w 12192000"/>
              <a:gd name="connsiteY32" fmla="*/ 5066689 h 6858000"/>
              <a:gd name="connsiteX33" fmla="*/ 9638403 w 12192000"/>
              <a:gd name="connsiteY33" fmla="*/ 5091188 h 6858000"/>
              <a:gd name="connsiteX34" fmla="*/ 9603286 w 12192000"/>
              <a:gd name="connsiteY34" fmla="*/ 5111605 h 6858000"/>
              <a:gd name="connsiteX35" fmla="*/ 9566537 w 12192000"/>
              <a:gd name="connsiteY35" fmla="*/ 5132021 h 6858000"/>
              <a:gd name="connsiteX36" fmla="*/ 9530604 w 12192000"/>
              <a:gd name="connsiteY36" fmla="*/ 5150805 h 6858000"/>
              <a:gd name="connsiteX37" fmla="*/ 9493854 w 12192000"/>
              <a:gd name="connsiteY37" fmla="*/ 5170404 h 6858000"/>
              <a:gd name="connsiteX38" fmla="*/ 9457104 w 12192000"/>
              <a:gd name="connsiteY38" fmla="*/ 5185921 h 6858000"/>
              <a:gd name="connsiteX39" fmla="*/ 9384422 w 12192000"/>
              <a:gd name="connsiteY39" fmla="*/ 5217770 h 6858000"/>
              <a:gd name="connsiteX40" fmla="*/ 9312556 w 12192000"/>
              <a:gd name="connsiteY40" fmla="*/ 5244720 h 6858000"/>
              <a:gd name="connsiteX41" fmla="*/ 9241507 w 12192000"/>
              <a:gd name="connsiteY41" fmla="*/ 5268403 h 6858000"/>
              <a:gd name="connsiteX42" fmla="*/ 9171274 w 12192000"/>
              <a:gd name="connsiteY42" fmla="*/ 5289636 h 6858000"/>
              <a:gd name="connsiteX43" fmla="*/ 9105125 w 12192000"/>
              <a:gd name="connsiteY43" fmla="*/ 5306786 h 6858000"/>
              <a:gd name="connsiteX44" fmla="*/ 9039792 w 12192000"/>
              <a:gd name="connsiteY44" fmla="*/ 5321486 h 6858000"/>
              <a:gd name="connsiteX45" fmla="*/ 8977726 w 12192000"/>
              <a:gd name="connsiteY45" fmla="*/ 5333736 h 6858000"/>
              <a:gd name="connsiteX46" fmla="*/ 8918927 w 12192000"/>
              <a:gd name="connsiteY46" fmla="*/ 5343536 h 6858000"/>
              <a:gd name="connsiteX47" fmla="*/ 8865028 w 12192000"/>
              <a:gd name="connsiteY47" fmla="*/ 5350886 h 6858000"/>
              <a:gd name="connsiteX48" fmla="*/ 8814395 w 12192000"/>
              <a:gd name="connsiteY48" fmla="*/ 5355786 h 6858000"/>
              <a:gd name="connsiteX49" fmla="*/ 8769479 w 12192000"/>
              <a:gd name="connsiteY49" fmla="*/ 5359052 h 6858000"/>
              <a:gd name="connsiteX50" fmla="*/ 8730279 w 12192000"/>
              <a:gd name="connsiteY50" fmla="*/ 5362319 h 6858000"/>
              <a:gd name="connsiteX51" fmla="*/ 8668213 w 12192000"/>
              <a:gd name="connsiteY51" fmla="*/ 5363952 h 6858000"/>
              <a:gd name="connsiteX52" fmla="*/ 0 w 12192000"/>
              <a:gd name="connsiteY52" fmla="*/ 5363952 h 6858000"/>
              <a:gd name="connsiteX53" fmla="*/ 0 w 12192000"/>
              <a:gd name="connsiteY53" fmla="*/ 6858000 h 6858000"/>
              <a:gd name="connsiteX54" fmla="*/ 12192000 w 12192000"/>
              <a:gd name="connsiteY5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10341545" y="0"/>
                </a:lnTo>
                <a:lnTo>
                  <a:pt x="10341545" y="3690620"/>
                </a:lnTo>
                <a:lnTo>
                  <a:pt x="10339912" y="3761669"/>
                </a:lnTo>
                <a:lnTo>
                  <a:pt x="10336645" y="3831902"/>
                </a:lnTo>
                <a:lnTo>
                  <a:pt x="10331745" y="3899684"/>
                </a:lnTo>
                <a:lnTo>
                  <a:pt x="10326028" y="3966650"/>
                </a:lnTo>
                <a:lnTo>
                  <a:pt x="10316229" y="4030350"/>
                </a:lnTo>
                <a:lnTo>
                  <a:pt x="10306429" y="4092416"/>
                </a:lnTo>
                <a:lnTo>
                  <a:pt x="10294179" y="4152032"/>
                </a:lnTo>
                <a:lnTo>
                  <a:pt x="10279479" y="4209198"/>
                </a:lnTo>
                <a:lnTo>
                  <a:pt x="10265596" y="4266364"/>
                </a:lnTo>
                <a:lnTo>
                  <a:pt x="10247629" y="4321080"/>
                </a:lnTo>
                <a:lnTo>
                  <a:pt x="10228846" y="4373346"/>
                </a:lnTo>
                <a:lnTo>
                  <a:pt x="10210063" y="4423979"/>
                </a:lnTo>
                <a:lnTo>
                  <a:pt x="10187197" y="4472978"/>
                </a:lnTo>
                <a:lnTo>
                  <a:pt x="10165147" y="4521161"/>
                </a:lnTo>
                <a:lnTo>
                  <a:pt x="10141464" y="4565261"/>
                </a:lnTo>
                <a:lnTo>
                  <a:pt x="10116147" y="4609360"/>
                </a:lnTo>
                <a:lnTo>
                  <a:pt x="10090831" y="4652643"/>
                </a:lnTo>
                <a:lnTo>
                  <a:pt x="10063881" y="4692659"/>
                </a:lnTo>
                <a:lnTo>
                  <a:pt x="10035298" y="4731859"/>
                </a:lnTo>
                <a:lnTo>
                  <a:pt x="10006715" y="4770242"/>
                </a:lnTo>
                <a:lnTo>
                  <a:pt x="9976499" y="4805358"/>
                </a:lnTo>
                <a:lnTo>
                  <a:pt x="9944649" y="4839658"/>
                </a:lnTo>
                <a:lnTo>
                  <a:pt x="9912800" y="4873141"/>
                </a:lnTo>
                <a:lnTo>
                  <a:pt x="9880950" y="4904990"/>
                </a:lnTo>
                <a:lnTo>
                  <a:pt x="9847467" y="4935207"/>
                </a:lnTo>
                <a:lnTo>
                  <a:pt x="9814801" y="4963790"/>
                </a:lnTo>
                <a:lnTo>
                  <a:pt x="9779684" y="4992373"/>
                </a:lnTo>
                <a:lnTo>
                  <a:pt x="9744568" y="5019323"/>
                </a:lnTo>
                <a:lnTo>
                  <a:pt x="9709452" y="5043006"/>
                </a:lnTo>
                <a:lnTo>
                  <a:pt x="9674335" y="5066689"/>
                </a:lnTo>
                <a:lnTo>
                  <a:pt x="9638403" y="5091188"/>
                </a:lnTo>
                <a:lnTo>
                  <a:pt x="9603286" y="5111605"/>
                </a:lnTo>
                <a:lnTo>
                  <a:pt x="9566537" y="5132021"/>
                </a:lnTo>
                <a:lnTo>
                  <a:pt x="9530604" y="5150805"/>
                </a:lnTo>
                <a:lnTo>
                  <a:pt x="9493854" y="5170404"/>
                </a:lnTo>
                <a:lnTo>
                  <a:pt x="9457104" y="5185921"/>
                </a:lnTo>
                <a:lnTo>
                  <a:pt x="9384422" y="5217770"/>
                </a:lnTo>
                <a:lnTo>
                  <a:pt x="9312556" y="5244720"/>
                </a:lnTo>
                <a:lnTo>
                  <a:pt x="9241507" y="5268403"/>
                </a:lnTo>
                <a:lnTo>
                  <a:pt x="9171274" y="5289636"/>
                </a:lnTo>
                <a:lnTo>
                  <a:pt x="9105125" y="5306786"/>
                </a:lnTo>
                <a:lnTo>
                  <a:pt x="9039792" y="5321486"/>
                </a:lnTo>
                <a:lnTo>
                  <a:pt x="8977726" y="5333736"/>
                </a:lnTo>
                <a:lnTo>
                  <a:pt x="8918927" y="5343536"/>
                </a:lnTo>
                <a:lnTo>
                  <a:pt x="8865028" y="5350886"/>
                </a:lnTo>
                <a:lnTo>
                  <a:pt x="8814395" y="5355786"/>
                </a:lnTo>
                <a:lnTo>
                  <a:pt x="8769479" y="5359052"/>
                </a:lnTo>
                <a:lnTo>
                  <a:pt x="8730279" y="5362319"/>
                </a:lnTo>
                <a:lnTo>
                  <a:pt x="8668213" y="5363952"/>
                </a:lnTo>
                <a:lnTo>
                  <a:pt x="0" y="5363952"/>
                </a:lnTo>
                <a:lnTo>
                  <a:pt x="0" y="6858000"/>
                </a:lnTo>
                <a:lnTo>
                  <a:pt x="12192000" y="6858000"/>
                </a:lnTo>
                <a:close/>
              </a:path>
            </a:pathLst>
          </a:custGeom>
          <a:solidFill>
            <a:srgbClr val="80C2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1" name="Forma Livre: Forma 33">
            <a:extLst>
              <a:ext uri="{FF2B5EF4-FFF2-40B4-BE49-F238E27FC236}">
                <a16:creationId xmlns:a16="http://schemas.microsoft.com/office/drawing/2014/main" id="{6A225325-566D-408B-BA06-ED62DDA149E1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843311" y="3124572"/>
            <a:ext cx="10348689" cy="2979131"/>
          </a:xfrm>
          <a:custGeom>
            <a:avLst/>
            <a:gdLst>
              <a:gd name="connsiteX0" fmla="*/ 10348689 w 10348689"/>
              <a:gd name="connsiteY0" fmla="*/ 0 h 2979131"/>
              <a:gd name="connsiteX1" fmla="*/ 10347056 w 10348689"/>
              <a:gd name="connsiteY1" fmla="*/ 71049 h 2979131"/>
              <a:gd name="connsiteX2" fmla="*/ 10343789 w 10348689"/>
              <a:gd name="connsiteY2" fmla="*/ 141282 h 2979131"/>
              <a:gd name="connsiteX3" fmla="*/ 10338889 w 10348689"/>
              <a:gd name="connsiteY3" fmla="*/ 209064 h 2979131"/>
              <a:gd name="connsiteX4" fmla="*/ 10333172 w 10348689"/>
              <a:gd name="connsiteY4" fmla="*/ 276030 h 2979131"/>
              <a:gd name="connsiteX5" fmla="*/ 10323373 w 10348689"/>
              <a:gd name="connsiteY5" fmla="*/ 339730 h 2979131"/>
              <a:gd name="connsiteX6" fmla="*/ 10313573 w 10348689"/>
              <a:gd name="connsiteY6" fmla="*/ 401796 h 2979131"/>
              <a:gd name="connsiteX7" fmla="*/ 10301323 w 10348689"/>
              <a:gd name="connsiteY7" fmla="*/ 461412 h 2979131"/>
              <a:gd name="connsiteX8" fmla="*/ 10286623 w 10348689"/>
              <a:gd name="connsiteY8" fmla="*/ 518578 h 2979131"/>
              <a:gd name="connsiteX9" fmla="*/ 10272740 w 10348689"/>
              <a:gd name="connsiteY9" fmla="*/ 575744 h 2979131"/>
              <a:gd name="connsiteX10" fmla="*/ 10254773 w 10348689"/>
              <a:gd name="connsiteY10" fmla="*/ 630460 h 2979131"/>
              <a:gd name="connsiteX11" fmla="*/ 10235990 w 10348689"/>
              <a:gd name="connsiteY11" fmla="*/ 682726 h 2979131"/>
              <a:gd name="connsiteX12" fmla="*/ 10217207 w 10348689"/>
              <a:gd name="connsiteY12" fmla="*/ 733359 h 2979131"/>
              <a:gd name="connsiteX13" fmla="*/ 10194341 w 10348689"/>
              <a:gd name="connsiteY13" fmla="*/ 782358 h 2979131"/>
              <a:gd name="connsiteX14" fmla="*/ 10172291 w 10348689"/>
              <a:gd name="connsiteY14" fmla="*/ 830541 h 2979131"/>
              <a:gd name="connsiteX15" fmla="*/ 10148608 w 10348689"/>
              <a:gd name="connsiteY15" fmla="*/ 874641 h 2979131"/>
              <a:gd name="connsiteX16" fmla="*/ 10123291 w 10348689"/>
              <a:gd name="connsiteY16" fmla="*/ 918740 h 2979131"/>
              <a:gd name="connsiteX17" fmla="*/ 10097975 w 10348689"/>
              <a:gd name="connsiteY17" fmla="*/ 962023 h 2979131"/>
              <a:gd name="connsiteX18" fmla="*/ 10071025 w 10348689"/>
              <a:gd name="connsiteY18" fmla="*/ 1002039 h 2979131"/>
              <a:gd name="connsiteX19" fmla="*/ 10042442 w 10348689"/>
              <a:gd name="connsiteY19" fmla="*/ 1041239 h 2979131"/>
              <a:gd name="connsiteX20" fmla="*/ 10013859 w 10348689"/>
              <a:gd name="connsiteY20" fmla="*/ 1079622 h 2979131"/>
              <a:gd name="connsiteX21" fmla="*/ 9983643 w 10348689"/>
              <a:gd name="connsiteY21" fmla="*/ 1114738 h 2979131"/>
              <a:gd name="connsiteX22" fmla="*/ 9951793 w 10348689"/>
              <a:gd name="connsiteY22" fmla="*/ 1149038 h 2979131"/>
              <a:gd name="connsiteX23" fmla="*/ 9919944 w 10348689"/>
              <a:gd name="connsiteY23" fmla="*/ 1182521 h 2979131"/>
              <a:gd name="connsiteX24" fmla="*/ 9888094 w 10348689"/>
              <a:gd name="connsiteY24" fmla="*/ 1214370 h 2979131"/>
              <a:gd name="connsiteX25" fmla="*/ 9854611 w 10348689"/>
              <a:gd name="connsiteY25" fmla="*/ 1244587 h 2979131"/>
              <a:gd name="connsiteX26" fmla="*/ 9821945 w 10348689"/>
              <a:gd name="connsiteY26" fmla="*/ 1273170 h 2979131"/>
              <a:gd name="connsiteX27" fmla="*/ 9786828 w 10348689"/>
              <a:gd name="connsiteY27" fmla="*/ 1301753 h 2979131"/>
              <a:gd name="connsiteX28" fmla="*/ 9751712 w 10348689"/>
              <a:gd name="connsiteY28" fmla="*/ 1328703 h 2979131"/>
              <a:gd name="connsiteX29" fmla="*/ 9716596 w 10348689"/>
              <a:gd name="connsiteY29" fmla="*/ 1352386 h 2979131"/>
              <a:gd name="connsiteX30" fmla="*/ 9681479 w 10348689"/>
              <a:gd name="connsiteY30" fmla="*/ 1376069 h 2979131"/>
              <a:gd name="connsiteX31" fmla="*/ 9645547 w 10348689"/>
              <a:gd name="connsiteY31" fmla="*/ 1400568 h 2979131"/>
              <a:gd name="connsiteX32" fmla="*/ 9610430 w 10348689"/>
              <a:gd name="connsiteY32" fmla="*/ 1420985 h 2979131"/>
              <a:gd name="connsiteX33" fmla="*/ 9573681 w 10348689"/>
              <a:gd name="connsiteY33" fmla="*/ 1441401 h 2979131"/>
              <a:gd name="connsiteX34" fmla="*/ 9537748 w 10348689"/>
              <a:gd name="connsiteY34" fmla="*/ 1460185 h 2979131"/>
              <a:gd name="connsiteX35" fmla="*/ 9500998 w 10348689"/>
              <a:gd name="connsiteY35" fmla="*/ 1479784 h 2979131"/>
              <a:gd name="connsiteX36" fmla="*/ 9464248 w 10348689"/>
              <a:gd name="connsiteY36" fmla="*/ 1495301 h 2979131"/>
              <a:gd name="connsiteX37" fmla="*/ 9391566 w 10348689"/>
              <a:gd name="connsiteY37" fmla="*/ 1527150 h 2979131"/>
              <a:gd name="connsiteX38" fmla="*/ 9319700 w 10348689"/>
              <a:gd name="connsiteY38" fmla="*/ 1554100 h 2979131"/>
              <a:gd name="connsiteX39" fmla="*/ 9248651 w 10348689"/>
              <a:gd name="connsiteY39" fmla="*/ 1577783 h 2979131"/>
              <a:gd name="connsiteX40" fmla="*/ 9178418 w 10348689"/>
              <a:gd name="connsiteY40" fmla="*/ 1599016 h 2979131"/>
              <a:gd name="connsiteX41" fmla="*/ 9112269 w 10348689"/>
              <a:gd name="connsiteY41" fmla="*/ 1616166 h 2979131"/>
              <a:gd name="connsiteX42" fmla="*/ 9046936 w 10348689"/>
              <a:gd name="connsiteY42" fmla="*/ 1630866 h 2979131"/>
              <a:gd name="connsiteX43" fmla="*/ 8984870 w 10348689"/>
              <a:gd name="connsiteY43" fmla="*/ 1643116 h 2979131"/>
              <a:gd name="connsiteX44" fmla="*/ 8926071 w 10348689"/>
              <a:gd name="connsiteY44" fmla="*/ 1652916 h 2979131"/>
              <a:gd name="connsiteX45" fmla="*/ 8872172 w 10348689"/>
              <a:gd name="connsiteY45" fmla="*/ 1660266 h 2979131"/>
              <a:gd name="connsiteX46" fmla="*/ 8821539 w 10348689"/>
              <a:gd name="connsiteY46" fmla="*/ 1665166 h 2979131"/>
              <a:gd name="connsiteX47" fmla="*/ 8776623 w 10348689"/>
              <a:gd name="connsiteY47" fmla="*/ 1668432 h 2979131"/>
              <a:gd name="connsiteX48" fmla="*/ 8737423 w 10348689"/>
              <a:gd name="connsiteY48" fmla="*/ 1671699 h 2979131"/>
              <a:gd name="connsiteX49" fmla="*/ 8675357 w 10348689"/>
              <a:gd name="connsiteY49" fmla="*/ 1673332 h 2979131"/>
              <a:gd name="connsiteX50" fmla="*/ 0 w 10348689"/>
              <a:gd name="connsiteY50" fmla="*/ 1673332 h 2979131"/>
              <a:gd name="connsiteX51" fmla="*/ 0 w 10348689"/>
              <a:gd name="connsiteY51" fmla="*/ 2979131 h 2979131"/>
              <a:gd name="connsiteX52" fmla="*/ 8675357 w 10348689"/>
              <a:gd name="connsiteY52" fmla="*/ 2979131 h 2979131"/>
              <a:gd name="connsiteX53" fmla="*/ 8737423 w 10348689"/>
              <a:gd name="connsiteY53" fmla="*/ 2977498 h 2979131"/>
              <a:gd name="connsiteX54" fmla="*/ 8776623 w 10348689"/>
              <a:gd name="connsiteY54" fmla="*/ 2974231 h 2979131"/>
              <a:gd name="connsiteX55" fmla="*/ 8821539 w 10348689"/>
              <a:gd name="connsiteY55" fmla="*/ 2970965 h 2979131"/>
              <a:gd name="connsiteX56" fmla="*/ 8872172 w 10348689"/>
              <a:gd name="connsiteY56" fmla="*/ 2966065 h 2979131"/>
              <a:gd name="connsiteX57" fmla="*/ 8926071 w 10348689"/>
              <a:gd name="connsiteY57" fmla="*/ 2958715 h 2979131"/>
              <a:gd name="connsiteX58" fmla="*/ 8984870 w 10348689"/>
              <a:gd name="connsiteY58" fmla="*/ 2948915 h 2979131"/>
              <a:gd name="connsiteX59" fmla="*/ 9046936 w 10348689"/>
              <a:gd name="connsiteY59" fmla="*/ 2936665 h 2979131"/>
              <a:gd name="connsiteX60" fmla="*/ 9112269 w 10348689"/>
              <a:gd name="connsiteY60" fmla="*/ 2921965 h 2979131"/>
              <a:gd name="connsiteX61" fmla="*/ 9178418 w 10348689"/>
              <a:gd name="connsiteY61" fmla="*/ 2904815 h 2979131"/>
              <a:gd name="connsiteX62" fmla="*/ 9248651 w 10348689"/>
              <a:gd name="connsiteY62" fmla="*/ 2883582 h 2979131"/>
              <a:gd name="connsiteX63" fmla="*/ 9319700 w 10348689"/>
              <a:gd name="connsiteY63" fmla="*/ 2859899 h 2979131"/>
              <a:gd name="connsiteX64" fmla="*/ 9391566 w 10348689"/>
              <a:gd name="connsiteY64" fmla="*/ 2832949 h 2979131"/>
              <a:gd name="connsiteX65" fmla="*/ 9464248 w 10348689"/>
              <a:gd name="connsiteY65" fmla="*/ 2801100 h 2979131"/>
              <a:gd name="connsiteX66" fmla="*/ 9500998 w 10348689"/>
              <a:gd name="connsiteY66" fmla="*/ 2785583 h 2979131"/>
              <a:gd name="connsiteX67" fmla="*/ 9537748 w 10348689"/>
              <a:gd name="connsiteY67" fmla="*/ 2765984 h 2979131"/>
              <a:gd name="connsiteX68" fmla="*/ 9573681 w 10348689"/>
              <a:gd name="connsiteY68" fmla="*/ 2747200 h 2979131"/>
              <a:gd name="connsiteX69" fmla="*/ 9610430 w 10348689"/>
              <a:gd name="connsiteY69" fmla="*/ 2726784 h 2979131"/>
              <a:gd name="connsiteX70" fmla="*/ 9645547 w 10348689"/>
              <a:gd name="connsiteY70" fmla="*/ 2706367 h 2979131"/>
              <a:gd name="connsiteX71" fmla="*/ 9681479 w 10348689"/>
              <a:gd name="connsiteY71" fmla="*/ 2681868 h 2979131"/>
              <a:gd name="connsiteX72" fmla="*/ 9716596 w 10348689"/>
              <a:gd name="connsiteY72" fmla="*/ 2658185 h 2979131"/>
              <a:gd name="connsiteX73" fmla="*/ 9751712 w 10348689"/>
              <a:gd name="connsiteY73" fmla="*/ 2634502 h 2979131"/>
              <a:gd name="connsiteX74" fmla="*/ 9786828 w 10348689"/>
              <a:gd name="connsiteY74" fmla="*/ 2607552 h 2979131"/>
              <a:gd name="connsiteX75" fmla="*/ 9821945 w 10348689"/>
              <a:gd name="connsiteY75" fmla="*/ 2578969 h 2979131"/>
              <a:gd name="connsiteX76" fmla="*/ 9854611 w 10348689"/>
              <a:gd name="connsiteY76" fmla="*/ 2550386 h 2979131"/>
              <a:gd name="connsiteX77" fmla="*/ 9888094 w 10348689"/>
              <a:gd name="connsiteY77" fmla="*/ 2520169 h 2979131"/>
              <a:gd name="connsiteX78" fmla="*/ 9919944 w 10348689"/>
              <a:gd name="connsiteY78" fmla="*/ 2488320 h 2979131"/>
              <a:gd name="connsiteX79" fmla="*/ 9951793 w 10348689"/>
              <a:gd name="connsiteY79" fmla="*/ 2454837 h 2979131"/>
              <a:gd name="connsiteX80" fmla="*/ 9983643 w 10348689"/>
              <a:gd name="connsiteY80" fmla="*/ 2420537 h 2979131"/>
              <a:gd name="connsiteX81" fmla="*/ 10013859 w 10348689"/>
              <a:gd name="connsiteY81" fmla="*/ 2385421 h 2979131"/>
              <a:gd name="connsiteX82" fmla="*/ 10042442 w 10348689"/>
              <a:gd name="connsiteY82" fmla="*/ 2347038 h 2979131"/>
              <a:gd name="connsiteX83" fmla="*/ 10071025 w 10348689"/>
              <a:gd name="connsiteY83" fmla="*/ 2307838 h 2979131"/>
              <a:gd name="connsiteX84" fmla="*/ 10097975 w 10348689"/>
              <a:gd name="connsiteY84" fmla="*/ 2267822 h 2979131"/>
              <a:gd name="connsiteX85" fmla="*/ 10123291 w 10348689"/>
              <a:gd name="connsiteY85" fmla="*/ 2224539 h 2979131"/>
              <a:gd name="connsiteX86" fmla="*/ 10148608 w 10348689"/>
              <a:gd name="connsiteY86" fmla="*/ 2180440 h 2979131"/>
              <a:gd name="connsiteX87" fmla="*/ 10172291 w 10348689"/>
              <a:gd name="connsiteY87" fmla="*/ 2136340 h 2979131"/>
              <a:gd name="connsiteX88" fmla="*/ 10194341 w 10348689"/>
              <a:gd name="connsiteY88" fmla="*/ 2088157 h 2979131"/>
              <a:gd name="connsiteX89" fmla="*/ 10217207 w 10348689"/>
              <a:gd name="connsiteY89" fmla="*/ 2039158 h 2979131"/>
              <a:gd name="connsiteX90" fmla="*/ 10235990 w 10348689"/>
              <a:gd name="connsiteY90" fmla="*/ 1988525 h 2979131"/>
              <a:gd name="connsiteX91" fmla="*/ 10254773 w 10348689"/>
              <a:gd name="connsiteY91" fmla="*/ 1936259 h 2979131"/>
              <a:gd name="connsiteX92" fmla="*/ 10272740 w 10348689"/>
              <a:gd name="connsiteY92" fmla="*/ 1881543 h 2979131"/>
              <a:gd name="connsiteX93" fmla="*/ 10286623 w 10348689"/>
              <a:gd name="connsiteY93" fmla="*/ 1824377 h 2979131"/>
              <a:gd name="connsiteX94" fmla="*/ 10301323 w 10348689"/>
              <a:gd name="connsiteY94" fmla="*/ 1767211 h 2979131"/>
              <a:gd name="connsiteX95" fmla="*/ 10313573 w 10348689"/>
              <a:gd name="connsiteY95" fmla="*/ 1707595 h 2979131"/>
              <a:gd name="connsiteX96" fmla="*/ 10323373 w 10348689"/>
              <a:gd name="connsiteY96" fmla="*/ 1645529 h 2979131"/>
              <a:gd name="connsiteX97" fmla="*/ 10333172 w 10348689"/>
              <a:gd name="connsiteY97" fmla="*/ 1581829 h 2979131"/>
              <a:gd name="connsiteX98" fmla="*/ 10338889 w 10348689"/>
              <a:gd name="connsiteY98" fmla="*/ 1514863 h 2979131"/>
              <a:gd name="connsiteX99" fmla="*/ 10343789 w 10348689"/>
              <a:gd name="connsiteY99" fmla="*/ 1447081 h 2979131"/>
              <a:gd name="connsiteX100" fmla="*/ 10347056 w 10348689"/>
              <a:gd name="connsiteY100" fmla="*/ 1376848 h 2979131"/>
              <a:gd name="connsiteX101" fmla="*/ 10348689 w 10348689"/>
              <a:gd name="connsiteY101" fmla="*/ 1305799 h 2979131"/>
              <a:gd name="connsiteX102" fmla="*/ 10348689 w 10348689"/>
              <a:gd name="connsiteY102" fmla="*/ 0 h 297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10348689" h="2979131">
                <a:moveTo>
                  <a:pt x="10348689" y="0"/>
                </a:moveTo>
                <a:lnTo>
                  <a:pt x="10347056" y="71049"/>
                </a:lnTo>
                <a:lnTo>
                  <a:pt x="10343789" y="141282"/>
                </a:lnTo>
                <a:lnTo>
                  <a:pt x="10338889" y="209064"/>
                </a:lnTo>
                <a:lnTo>
                  <a:pt x="10333172" y="276030"/>
                </a:lnTo>
                <a:lnTo>
                  <a:pt x="10323373" y="339730"/>
                </a:lnTo>
                <a:lnTo>
                  <a:pt x="10313573" y="401796"/>
                </a:lnTo>
                <a:lnTo>
                  <a:pt x="10301323" y="461412"/>
                </a:lnTo>
                <a:lnTo>
                  <a:pt x="10286623" y="518578"/>
                </a:lnTo>
                <a:lnTo>
                  <a:pt x="10272740" y="575744"/>
                </a:lnTo>
                <a:lnTo>
                  <a:pt x="10254773" y="630460"/>
                </a:lnTo>
                <a:lnTo>
                  <a:pt x="10235990" y="682726"/>
                </a:lnTo>
                <a:lnTo>
                  <a:pt x="10217207" y="733359"/>
                </a:lnTo>
                <a:lnTo>
                  <a:pt x="10194341" y="782358"/>
                </a:lnTo>
                <a:lnTo>
                  <a:pt x="10172291" y="830541"/>
                </a:lnTo>
                <a:lnTo>
                  <a:pt x="10148608" y="874641"/>
                </a:lnTo>
                <a:lnTo>
                  <a:pt x="10123291" y="918740"/>
                </a:lnTo>
                <a:lnTo>
                  <a:pt x="10097975" y="962023"/>
                </a:lnTo>
                <a:lnTo>
                  <a:pt x="10071025" y="1002039"/>
                </a:lnTo>
                <a:lnTo>
                  <a:pt x="10042442" y="1041239"/>
                </a:lnTo>
                <a:lnTo>
                  <a:pt x="10013859" y="1079622"/>
                </a:lnTo>
                <a:lnTo>
                  <a:pt x="9983643" y="1114738"/>
                </a:lnTo>
                <a:lnTo>
                  <a:pt x="9951793" y="1149038"/>
                </a:lnTo>
                <a:lnTo>
                  <a:pt x="9919944" y="1182521"/>
                </a:lnTo>
                <a:lnTo>
                  <a:pt x="9888094" y="1214370"/>
                </a:lnTo>
                <a:lnTo>
                  <a:pt x="9854611" y="1244587"/>
                </a:lnTo>
                <a:lnTo>
                  <a:pt x="9821945" y="1273170"/>
                </a:lnTo>
                <a:lnTo>
                  <a:pt x="9786828" y="1301753"/>
                </a:lnTo>
                <a:lnTo>
                  <a:pt x="9751712" y="1328703"/>
                </a:lnTo>
                <a:lnTo>
                  <a:pt x="9716596" y="1352386"/>
                </a:lnTo>
                <a:lnTo>
                  <a:pt x="9681479" y="1376069"/>
                </a:lnTo>
                <a:lnTo>
                  <a:pt x="9645547" y="1400568"/>
                </a:lnTo>
                <a:lnTo>
                  <a:pt x="9610430" y="1420985"/>
                </a:lnTo>
                <a:lnTo>
                  <a:pt x="9573681" y="1441401"/>
                </a:lnTo>
                <a:lnTo>
                  <a:pt x="9537748" y="1460185"/>
                </a:lnTo>
                <a:lnTo>
                  <a:pt x="9500998" y="1479784"/>
                </a:lnTo>
                <a:lnTo>
                  <a:pt x="9464248" y="1495301"/>
                </a:lnTo>
                <a:lnTo>
                  <a:pt x="9391566" y="1527150"/>
                </a:lnTo>
                <a:lnTo>
                  <a:pt x="9319700" y="1554100"/>
                </a:lnTo>
                <a:lnTo>
                  <a:pt x="9248651" y="1577783"/>
                </a:lnTo>
                <a:lnTo>
                  <a:pt x="9178418" y="1599016"/>
                </a:lnTo>
                <a:lnTo>
                  <a:pt x="9112269" y="1616166"/>
                </a:lnTo>
                <a:lnTo>
                  <a:pt x="9046936" y="1630866"/>
                </a:lnTo>
                <a:lnTo>
                  <a:pt x="8984870" y="1643116"/>
                </a:lnTo>
                <a:lnTo>
                  <a:pt x="8926071" y="1652916"/>
                </a:lnTo>
                <a:lnTo>
                  <a:pt x="8872172" y="1660266"/>
                </a:lnTo>
                <a:lnTo>
                  <a:pt x="8821539" y="1665166"/>
                </a:lnTo>
                <a:lnTo>
                  <a:pt x="8776623" y="1668432"/>
                </a:lnTo>
                <a:lnTo>
                  <a:pt x="8737423" y="1671699"/>
                </a:lnTo>
                <a:lnTo>
                  <a:pt x="8675357" y="1673332"/>
                </a:lnTo>
                <a:lnTo>
                  <a:pt x="0" y="1673332"/>
                </a:lnTo>
                <a:lnTo>
                  <a:pt x="0" y="2979131"/>
                </a:lnTo>
                <a:lnTo>
                  <a:pt x="8675357" y="2979131"/>
                </a:lnTo>
                <a:lnTo>
                  <a:pt x="8737423" y="2977498"/>
                </a:lnTo>
                <a:lnTo>
                  <a:pt x="8776623" y="2974231"/>
                </a:lnTo>
                <a:lnTo>
                  <a:pt x="8821539" y="2970965"/>
                </a:lnTo>
                <a:lnTo>
                  <a:pt x="8872172" y="2966065"/>
                </a:lnTo>
                <a:lnTo>
                  <a:pt x="8926071" y="2958715"/>
                </a:lnTo>
                <a:lnTo>
                  <a:pt x="8984870" y="2948915"/>
                </a:lnTo>
                <a:lnTo>
                  <a:pt x="9046936" y="2936665"/>
                </a:lnTo>
                <a:lnTo>
                  <a:pt x="9112269" y="2921965"/>
                </a:lnTo>
                <a:lnTo>
                  <a:pt x="9178418" y="2904815"/>
                </a:lnTo>
                <a:lnTo>
                  <a:pt x="9248651" y="2883582"/>
                </a:lnTo>
                <a:lnTo>
                  <a:pt x="9319700" y="2859899"/>
                </a:lnTo>
                <a:lnTo>
                  <a:pt x="9391566" y="2832949"/>
                </a:lnTo>
                <a:lnTo>
                  <a:pt x="9464248" y="2801100"/>
                </a:lnTo>
                <a:lnTo>
                  <a:pt x="9500998" y="2785583"/>
                </a:lnTo>
                <a:lnTo>
                  <a:pt x="9537748" y="2765984"/>
                </a:lnTo>
                <a:lnTo>
                  <a:pt x="9573681" y="2747200"/>
                </a:lnTo>
                <a:lnTo>
                  <a:pt x="9610430" y="2726784"/>
                </a:lnTo>
                <a:lnTo>
                  <a:pt x="9645547" y="2706367"/>
                </a:lnTo>
                <a:lnTo>
                  <a:pt x="9681479" y="2681868"/>
                </a:lnTo>
                <a:lnTo>
                  <a:pt x="9716596" y="2658185"/>
                </a:lnTo>
                <a:lnTo>
                  <a:pt x="9751712" y="2634502"/>
                </a:lnTo>
                <a:lnTo>
                  <a:pt x="9786828" y="2607552"/>
                </a:lnTo>
                <a:lnTo>
                  <a:pt x="9821945" y="2578969"/>
                </a:lnTo>
                <a:lnTo>
                  <a:pt x="9854611" y="2550386"/>
                </a:lnTo>
                <a:lnTo>
                  <a:pt x="9888094" y="2520169"/>
                </a:lnTo>
                <a:lnTo>
                  <a:pt x="9919944" y="2488320"/>
                </a:lnTo>
                <a:lnTo>
                  <a:pt x="9951793" y="2454837"/>
                </a:lnTo>
                <a:lnTo>
                  <a:pt x="9983643" y="2420537"/>
                </a:lnTo>
                <a:lnTo>
                  <a:pt x="10013859" y="2385421"/>
                </a:lnTo>
                <a:lnTo>
                  <a:pt x="10042442" y="2347038"/>
                </a:lnTo>
                <a:lnTo>
                  <a:pt x="10071025" y="2307838"/>
                </a:lnTo>
                <a:lnTo>
                  <a:pt x="10097975" y="2267822"/>
                </a:lnTo>
                <a:lnTo>
                  <a:pt x="10123291" y="2224539"/>
                </a:lnTo>
                <a:lnTo>
                  <a:pt x="10148608" y="2180440"/>
                </a:lnTo>
                <a:lnTo>
                  <a:pt x="10172291" y="2136340"/>
                </a:lnTo>
                <a:lnTo>
                  <a:pt x="10194341" y="2088157"/>
                </a:lnTo>
                <a:lnTo>
                  <a:pt x="10217207" y="2039158"/>
                </a:lnTo>
                <a:lnTo>
                  <a:pt x="10235990" y="1988525"/>
                </a:lnTo>
                <a:lnTo>
                  <a:pt x="10254773" y="1936259"/>
                </a:lnTo>
                <a:lnTo>
                  <a:pt x="10272740" y="1881543"/>
                </a:lnTo>
                <a:lnTo>
                  <a:pt x="10286623" y="1824377"/>
                </a:lnTo>
                <a:lnTo>
                  <a:pt x="10301323" y="1767211"/>
                </a:lnTo>
                <a:lnTo>
                  <a:pt x="10313573" y="1707595"/>
                </a:lnTo>
                <a:lnTo>
                  <a:pt x="10323373" y="1645529"/>
                </a:lnTo>
                <a:lnTo>
                  <a:pt x="10333172" y="1581829"/>
                </a:lnTo>
                <a:lnTo>
                  <a:pt x="10338889" y="1514863"/>
                </a:lnTo>
                <a:lnTo>
                  <a:pt x="10343789" y="1447081"/>
                </a:lnTo>
                <a:lnTo>
                  <a:pt x="10347056" y="1376848"/>
                </a:lnTo>
                <a:lnTo>
                  <a:pt x="10348689" y="1305799"/>
                </a:lnTo>
                <a:lnTo>
                  <a:pt x="10348689" y="0"/>
                </a:lnTo>
                <a:close/>
              </a:path>
            </a:pathLst>
          </a:custGeom>
          <a:solidFill>
            <a:srgbClr val="18558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/>
          </a:p>
        </p:txBody>
      </p:sp>
      <p:pic>
        <p:nvPicPr>
          <p:cNvPr id="24" name="[Linha]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00"/>
          <a:stretch/>
        </p:blipFill>
        <p:spPr>
          <a:xfrm flipH="1">
            <a:off x="-128641" y="10643"/>
            <a:ext cx="5791200" cy="6858000"/>
          </a:xfrm>
          <a:prstGeom prst="rect">
            <a:avLst/>
          </a:prstGeom>
        </p:spPr>
      </p:pic>
      <p:grpSp>
        <p:nvGrpSpPr>
          <p:cNvPr id="12" name="Rodapé">
            <a:extLst>
              <a:ext uri="{FF2B5EF4-FFF2-40B4-BE49-F238E27FC236}">
                <a16:creationId xmlns:a16="http://schemas.microsoft.com/office/drawing/2014/main" id="{FF805DA6-ED4D-415F-999F-7579FD002132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9323386A-51DA-4C07-84F7-53CA47CD1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4" name="Imagem 13">
              <a:extLst>
                <a:ext uri="{FF2B5EF4-FFF2-40B4-BE49-F238E27FC236}">
                  <a16:creationId xmlns:a16="http://schemas.microsoft.com/office/drawing/2014/main" id="{C8B51040-2761-4066-8691-582C54817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3489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580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57518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28547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62979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30450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4563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[Fundo] Cor"/>
          <p:cNvSpPr/>
          <p:nvPr userDrawn="1"/>
        </p:nvSpPr>
        <p:spPr>
          <a:xfrm>
            <a:off x="0" y="0"/>
            <a:ext cx="12192000" cy="6872515"/>
          </a:xfrm>
          <a:prstGeom prst="rect">
            <a:avLst/>
          </a:prstGeom>
          <a:solidFill>
            <a:srgbClr val="F58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2" name="Grupo 11"/>
          <p:cNvGrpSpPr/>
          <p:nvPr userDrawn="1"/>
        </p:nvGrpSpPr>
        <p:grpSpPr>
          <a:xfrm>
            <a:off x="4955748" y="3443515"/>
            <a:ext cx="7804993" cy="863238"/>
            <a:chOff x="-1474081" y="885131"/>
            <a:chExt cx="7804993" cy="863238"/>
          </a:xfrm>
        </p:grpSpPr>
        <p:sp>
          <p:nvSpPr>
            <p:cNvPr id="14" name="[Shape] Circuito"/>
            <p:cNvSpPr/>
            <p:nvPr/>
          </p:nvSpPr>
          <p:spPr>
            <a:xfrm>
              <a:off x="-1474081" y="885131"/>
              <a:ext cx="7804993" cy="77013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80C24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[Detalhe] Forma"/>
            <p:cNvSpPr/>
            <p:nvPr/>
          </p:nvSpPr>
          <p:spPr>
            <a:xfrm>
              <a:off x="4710214" y="1574198"/>
              <a:ext cx="566057" cy="174171"/>
            </a:xfrm>
            <a:prstGeom prst="rect">
              <a:avLst/>
            </a:prstGeom>
            <a:solidFill>
              <a:srgbClr val="80C2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9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0461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1363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31245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21326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5766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1831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16800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Moinho de vento de metal&#10;&#10;Descrição gerada automaticamente com confiança média">
            <a:extLst>
              <a:ext uri="{FF2B5EF4-FFF2-40B4-BE49-F238E27FC236}">
                <a16:creationId xmlns:a16="http://schemas.microsoft.com/office/drawing/2014/main" id="{78DE5827-9642-441E-A490-2AA06DD467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803C5352-72CE-404B-B288-DBE96CA527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1038" y="6165850"/>
            <a:ext cx="781097" cy="5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52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rma Livre: Forma 33">
            <a:extLst>
              <a:ext uri="{FF2B5EF4-FFF2-40B4-BE49-F238E27FC236}">
                <a16:creationId xmlns:a16="http://schemas.microsoft.com/office/drawing/2014/main" id="{6A225325-566D-408B-BA06-ED62DDA149E1}"/>
              </a:ext>
            </a:extLst>
          </p:cNvPr>
          <p:cNvSpPr>
            <a:spLocks/>
          </p:cNvSpPr>
          <p:nvPr userDrawn="1"/>
        </p:nvSpPr>
        <p:spPr bwMode="auto">
          <a:xfrm>
            <a:off x="0" y="3538674"/>
            <a:ext cx="12763500" cy="3340611"/>
          </a:xfrm>
          <a:custGeom>
            <a:avLst/>
            <a:gdLst>
              <a:gd name="connsiteX0" fmla="*/ 10348689 w 10348689"/>
              <a:gd name="connsiteY0" fmla="*/ 0 h 2979131"/>
              <a:gd name="connsiteX1" fmla="*/ 10347056 w 10348689"/>
              <a:gd name="connsiteY1" fmla="*/ 71049 h 2979131"/>
              <a:gd name="connsiteX2" fmla="*/ 10343789 w 10348689"/>
              <a:gd name="connsiteY2" fmla="*/ 141282 h 2979131"/>
              <a:gd name="connsiteX3" fmla="*/ 10338889 w 10348689"/>
              <a:gd name="connsiteY3" fmla="*/ 209064 h 2979131"/>
              <a:gd name="connsiteX4" fmla="*/ 10333172 w 10348689"/>
              <a:gd name="connsiteY4" fmla="*/ 276030 h 2979131"/>
              <a:gd name="connsiteX5" fmla="*/ 10323373 w 10348689"/>
              <a:gd name="connsiteY5" fmla="*/ 339730 h 2979131"/>
              <a:gd name="connsiteX6" fmla="*/ 10313573 w 10348689"/>
              <a:gd name="connsiteY6" fmla="*/ 401796 h 2979131"/>
              <a:gd name="connsiteX7" fmla="*/ 10301323 w 10348689"/>
              <a:gd name="connsiteY7" fmla="*/ 461412 h 2979131"/>
              <a:gd name="connsiteX8" fmla="*/ 10286623 w 10348689"/>
              <a:gd name="connsiteY8" fmla="*/ 518578 h 2979131"/>
              <a:gd name="connsiteX9" fmla="*/ 10272740 w 10348689"/>
              <a:gd name="connsiteY9" fmla="*/ 575744 h 2979131"/>
              <a:gd name="connsiteX10" fmla="*/ 10254773 w 10348689"/>
              <a:gd name="connsiteY10" fmla="*/ 630460 h 2979131"/>
              <a:gd name="connsiteX11" fmla="*/ 10235990 w 10348689"/>
              <a:gd name="connsiteY11" fmla="*/ 682726 h 2979131"/>
              <a:gd name="connsiteX12" fmla="*/ 10217207 w 10348689"/>
              <a:gd name="connsiteY12" fmla="*/ 733359 h 2979131"/>
              <a:gd name="connsiteX13" fmla="*/ 10194341 w 10348689"/>
              <a:gd name="connsiteY13" fmla="*/ 782358 h 2979131"/>
              <a:gd name="connsiteX14" fmla="*/ 10172291 w 10348689"/>
              <a:gd name="connsiteY14" fmla="*/ 830541 h 2979131"/>
              <a:gd name="connsiteX15" fmla="*/ 10148608 w 10348689"/>
              <a:gd name="connsiteY15" fmla="*/ 874641 h 2979131"/>
              <a:gd name="connsiteX16" fmla="*/ 10123291 w 10348689"/>
              <a:gd name="connsiteY16" fmla="*/ 918740 h 2979131"/>
              <a:gd name="connsiteX17" fmla="*/ 10097975 w 10348689"/>
              <a:gd name="connsiteY17" fmla="*/ 962023 h 2979131"/>
              <a:gd name="connsiteX18" fmla="*/ 10071025 w 10348689"/>
              <a:gd name="connsiteY18" fmla="*/ 1002039 h 2979131"/>
              <a:gd name="connsiteX19" fmla="*/ 10042442 w 10348689"/>
              <a:gd name="connsiteY19" fmla="*/ 1041239 h 2979131"/>
              <a:gd name="connsiteX20" fmla="*/ 10013859 w 10348689"/>
              <a:gd name="connsiteY20" fmla="*/ 1079622 h 2979131"/>
              <a:gd name="connsiteX21" fmla="*/ 9983643 w 10348689"/>
              <a:gd name="connsiteY21" fmla="*/ 1114738 h 2979131"/>
              <a:gd name="connsiteX22" fmla="*/ 9951793 w 10348689"/>
              <a:gd name="connsiteY22" fmla="*/ 1149038 h 2979131"/>
              <a:gd name="connsiteX23" fmla="*/ 9919944 w 10348689"/>
              <a:gd name="connsiteY23" fmla="*/ 1182521 h 2979131"/>
              <a:gd name="connsiteX24" fmla="*/ 9888094 w 10348689"/>
              <a:gd name="connsiteY24" fmla="*/ 1214370 h 2979131"/>
              <a:gd name="connsiteX25" fmla="*/ 9854611 w 10348689"/>
              <a:gd name="connsiteY25" fmla="*/ 1244587 h 2979131"/>
              <a:gd name="connsiteX26" fmla="*/ 9821945 w 10348689"/>
              <a:gd name="connsiteY26" fmla="*/ 1273170 h 2979131"/>
              <a:gd name="connsiteX27" fmla="*/ 9786828 w 10348689"/>
              <a:gd name="connsiteY27" fmla="*/ 1301753 h 2979131"/>
              <a:gd name="connsiteX28" fmla="*/ 9751712 w 10348689"/>
              <a:gd name="connsiteY28" fmla="*/ 1328703 h 2979131"/>
              <a:gd name="connsiteX29" fmla="*/ 9716596 w 10348689"/>
              <a:gd name="connsiteY29" fmla="*/ 1352386 h 2979131"/>
              <a:gd name="connsiteX30" fmla="*/ 9681479 w 10348689"/>
              <a:gd name="connsiteY30" fmla="*/ 1376069 h 2979131"/>
              <a:gd name="connsiteX31" fmla="*/ 9645547 w 10348689"/>
              <a:gd name="connsiteY31" fmla="*/ 1400568 h 2979131"/>
              <a:gd name="connsiteX32" fmla="*/ 9610430 w 10348689"/>
              <a:gd name="connsiteY32" fmla="*/ 1420985 h 2979131"/>
              <a:gd name="connsiteX33" fmla="*/ 9573681 w 10348689"/>
              <a:gd name="connsiteY33" fmla="*/ 1441401 h 2979131"/>
              <a:gd name="connsiteX34" fmla="*/ 9537748 w 10348689"/>
              <a:gd name="connsiteY34" fmla="*/ 1460185 h 2979131"/>
              <a:gd name="connsiteX35" fmla="*/ 9500998 w 10348689"/>
              <a:gd name="connsiteY35" fmla="*/ 1479784 h 2979131"/>
              <a:gd name="connsiteX36" fmla="*/ 9464248 w 10348689"/>
              <a:gd name="connsiteY36" fmla="*/ 1495301 h 2979131"/>
              <a:gd name="connsiteX37" fmla="*/ 9391566 w 10348689"/>
              <a:gd name="connsiteY37" fmla="*/ 1527150 h 2979131"/>
              <a:gd name="connsiteX38" fmla="*/ 9319700 w 10348689"/>
              <a:gd name="connsiteY38" fmla="*/ 1554100 h 2979131"/>
              <a:gd name="connsiteX39" fmla="*/ 9248651 w 10348689"/>
              <a:gd name="connsiteY39" fmla="*/ 1577783 h 2979131"/>
              <a:gd name="connsiteX40" fmla="*/ 9178418 w 10348689"/>
              <a:gd name="connsiteY40" fmla="*/ 1599016 h 2979131"/>
              <a:gd name="connsiteX41" fmla="*/ 9112269 w 10348689"/>
              <a:gd name="connsiteY41" fmla="*/ 1616166 h 2979131"/>
              <a:gd name="connsiteX42" fmla="*/ 9046936 w 10348689"/>
              <a:gd name="connsiteY42" fmla="*/ 1630866 h 2979131"/>
              <a:gd name="connsiteX43" fmla="*/ 8984870 w 10348689"/>
              <a:gd name="connsiteY43" fmla="*/ 1643116 h 2979131"/>
              <a:gd name="connsiteX44" fmla="*/ 8926071 w 10348689"/>
              <a:gd name="connsiteY44" fmla="*/ 1652916 h 2979131"/>
              <a:gd name="connsiteX45" fmla="*/ 8872172 w 10348689"/>
              <a:gd name="connsiteY45" fmla="*/ 1660266 h 2979131"/>
              <a:gd name="connsiteX46" fmla="*/ 8821539 w 10348689"/>
              <a:gd name="connsiteY46" fmla="*/ 1665166 h 2979131"/>
              <a:gd name="connsiteX47" fmla="*/ 8776623 w 10348689"/>
              <a:gd name="connsiteY47" fmla="*/ 1668432 h 2979131"/>
              <a:gd name="connsiteX48" fmla="*/ 8737423 w 10348689"/>
              <a:gd name="connsiteY48" fmla="*/ 1671699 h 2979131"/>
              <a:gd name="connsiteX49" fmla="*/ 8675357 w 10348689"/>
              <a:gd name="connsiteY49" fmla="*/ 1673332 h 2979131"/>
              <a:gd name="connsiteX50" fmla="*/ 0 w 10348689"/>
              <a:gd name="connsiteY50" fmla="*/ 1673332 h 2979131"/>
              <a:gd name="connsiteX51" fmla="*/ 0 w 10348689"/>
              <a:gd name="connsiteY51" fmla="*/ 2979131 h 2979131"/>
              <a:gd name="connsiteX52" fmla="*/ 8675357 w 10348689"/>
              <a:gd name="connsiteY52" fmla="*/ 2979131 h 2979131"/>
              <a:gd name="connsiteX53" fmla="*/ 8737423 w 10348689"/>
              <a:gd name="connsiteY53" fmla="*/ 2977498 h 2979131"/>
              <a:gd name="connsiteX54" fmla="*/ 8776623 w 10348689"/>
              <a:gd name="connsiteY54" fmla="*/ 2974231 h 2979131"/>
              <a:gd name="connsiteX55" fmla="*/ 8821539 w 10348689"/>
              <a:gd name="connsiteY55" fmla="*/ 2970965 h 2979131"/>
              <a:gd name="connsiteX56" fmla="*/ 8872172 w 10348689"/>
              <a:gd name="connsiteY56" fmla="*/ 2966065 h 2979131"/>
              <a:gd name="connsiteX57" fmla="*/ 8926071 w 10348689"/>
              <a:gd name="connsiteY57" fmla="*/ 2958715 h 2979131"/>
              <a:gd name="connsiteX58" fmla="*/ 8984870 w 10348689"/>
              <a:gd name="connsiteY58" fmla="*/ 2948915 h 2979131"/>
              <a:gd name="connsiteX59" fmla="*/ 9046936 w 10348689"/>
              <a:gd name="connsiteY59" fmla="*/ 2936665 h 2979131"/>
              <a:gd name="connsiteX60" fmla="*/ 9112269 w 10348689"/>
              <a:gd name="connsiteY60" fmla="*/ 2921965 h 2979131"/>
              <a:gd name="connsiteX61" fmla="*/ 9178418 w 10348689"/>
              <a:gd name="connsiteY61" fmla="*/ 2904815 h 2979131"/>
              <a:gd name="connsiteX62" fmla="*/ 9248651 w 10348689"/>
              <a:gd name="connsiteY62" fmla="*/ 2883582 h 2979131"/>
              <a:gd name="connsiteX63" fmla="*/ 9319700 w 10348689"/>
              <a:gd name="connsiteY63" fmla="*/ 2859899 h 2979131"/>
              <a:gd name="connsiteX64" fmla="*/ 9391566 w 10348689"/>
              <a:gd name="connsiteY64" fmla="*/ 2832949 h 2979131"/>
              <a:gd name="connsiteX65" fmla="*/ 9464248 w 10348689"/>
              <a:gd name="connsiteY65" fmla="*/ 2801100 h 2979131"/>
              <a:gd name="connsiteX66" fmla="*/ 9500998 w 10348689"/>
              <a:gd name="connsiteY66" fmla="*/ 2785583 h 2979131"/>
              <a:gd name="connsiteX67" fmla="*/ 9537748 w 10348689"/>
              <a:gd name="connsiteY67" fmla="*/ 2765984 h 2979131"/>
              <a:gd name="connsiteX68" fmla="*/ 9573681 w 10348689"/>
              <a:gd name="connsiteY68" fmla="*/ 2747200 h 2979131"/>
              <a:gd name="connsiteX69" fmla="*/ 9610430 w 10348689"/>
              <a:gd name="connsiteY69" fmla="*/ 2726784 h 2979131"/>
              <a:gd name="connsiteX70" fmla="*/ 9645547 w 10348689"/>
              <a:gd name="connsiteY70" fmla="*/ 2706367 h 2979131"/>
              <a:gd name="connsiteX71" fmla="*/ 9681479 w 10348689"/>
              <a:gd name="connsiteY71" fmla="*/ 2681868 h 2979131"/>
              <a:gd name="connsiteX72" fmla="*/ 9716596 w 10348689"/>
              <a:gd name="connsiteY72" fmla="*/ 2658185 h 2979131"/>
              <a:gd name="connsiteX73" fmla="*/ 9751712 w 10348689"/>
              <a:gd name="connsiteY73" fmla="*/ 2634502 h 2979131"/>
              <a:gd name="connsiteX74" fmla="*/ 9786828 w 10348689"/>
              <a:gd name="connsiteY74" fmla="*/ 2607552 h 2979131"/>
              <a:gd name="connsiteX75" fmla="*/ 9821945 w 10348689"/>
              <a:gd name="connsiteY75" fmla="*/ 2578969 h 2979131"/>
              <a:gd name="connsiteX76" fmla="*/ 9854611 w 10348689"/>
              <a:gd name="connsiteY76" fmla="*/ 2550386 h 2979131"/>
              <a:gd name="connsiteX77" fmla="*/ 9888094 w 10348689"/>
              <a:gd name="connsiteY77" fmla="*/ 2520169 h 2979131"/>
              <a:gd name="connsiteX78" fmla="*/ 9919944 w 10348689"/>
              <a:gd name="connsiteY78" fmla="*/ 2488320 h 2979131"/>
              <a:gd name="connsiteX79" fmla="*/ 9951793 w 10348689"/>
              <a:gd name="connsiteY79" fmla="*/ 2454837 h 2979131"/>
              <a:gd name="connsiteX80" fmla="*/ 9983643 w 10348689"/>
              <a:gd name="connsiteY80" fmla="*/ 2420537 h 2979131"/>
              <a:gd name="connsiteX81" fmla="*/ 10013859 w 10348689"/>
              <a:gd name="connsiteY81" fmla="*/ 2385421 h 2979131"/>
              <a:gd name="connsiteX82" fmla="*/ 10042442 w 10348689"/>
              <a:gd name="connsiteY82" fmla="*/ 2347038 h 2979131"/>
              <a:gd name="connsiteX83" fmla="*/ 10071025 w 10348689"/>
              <a:gd name="connsiteY83" fmla="*/ 2307838 h 2979131"/>
              <a:gd name="connsiteX84" fmla="*/ 10097975 w 10348689"/>
              <a:gd name="connsiteY84" fmla="*/ 2267822 h 2979131"/>
              <a:gd name="connsiteX85" fmla="*/ 10123291 w 10348689"/>
              <a:gd name="connsiteY85" fmla="*/ 2224539 h 2979131"/>
              <a:gd name="connsiteX86" fmla="*/ 10148608 w 10348689"/>
              <a:gd name="connsiteY86" fmla="*/ 2180440 h 2979131"/>
              <a:gd name="connsiteX87" fmla="*/ 10172291 w 10348689"/>
              <a:gd name="connsiteY87" fmla="*/ 2136340 h 2979131"/>
              <a:gd name="connsiteX88" fmla="*/ 10194341 w 10348689"/>
              <a:gd name="connsiteY88" fmla="*/ 2088157 h 2979131"/>
              <a:gd name="connsiteX89" fmla="*/ 10217207 w 10348689"/>
              <a:gd name="connsiteY89" fmla="*/ 2039158 h 2979131"/>
              <a:gd name="connsiteX90" fmla="*/ 10235990 w 10348689"/>
              <a:gd name="connsiteY90" fmla="*/ 1988525 h 2979131"/>
              <a:gd name="connsiteX91" fmla="*/ 10254773 w 10348689"/>
              <a:gd name="connsiteY91" fmla="*/ 1936259 h 2979131"/>
              <a:gd name="connsiteX92" fmla="*/ 10272740 w 10348689"/>
              <a:gd name="connsiteY92" fmla="*/ 1881543 h 2979131"/>
              <a:gd name="connsiteX93" fmla="*/ 10286623 w 10348689"/>
              <a:gd name="connsiteY93" fmla="*/ 1824377 h 2979131"/>
              <a:gd name="connsiteX94" fmla="*/ 10301323 w 10348689"/>
              <a:gd name="connsiteY94" fmla="*/ 1767211 h 2979131"/>
              <a:gd name="connsiteX95" fmla="*/ 10313573 w 10348689"/>
              <a:gd name="connsiteY95" fmla="*/ 1707595 h 2979131"/>
              <a:gd name="connsiteX96" fmla="*/ 10323373 w 10348689"/>
              <a:gd name="connsiteY96" fmla="*/ 1645529 h 2979131"/>
              <a:gd name="connsiteX97" fmla="*/ 10333172 w 10348689"/>
              <a:gd name="connsiteY97" fmla="*/ 1581829 h 2979131"/>
              <a:gd name="connsiteX98" fmla="*/ 10338889 w 10348689"/>
              <a:gd name="connsiteY98" fmla="*/ 1514863 h 2979131"/>
              <a:gd name="connsiteX99" fmla="*/ 10343789 w 10348689"/>
              <a:gd name="connsiteY99" fmla="*/ 1447081 h 2979131"/>
              <a:gd name="connsiteX100" fmla="*/ 10347056 w 10348689"/>
              <a:gd name="connsiteY100" fmla="*/ 1376848 h 2979131"/>
              <a:gd name="connsiteX101" fmla="*/ 10348689 w 10348689"/>
              <a:gd name="connsiteY101" fmla="*/ 1305799 h 2979131"/>
              <a:gd name="connsiteX102" fmla="*/ 10348689 w 10348689"/>
              <a:gd name="connsiteY102" fmla="*/ 0 h 297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10348689" h="2979131">
                <a:moveTo>
                  <a:pt x="10348689" y="0"/>
                </a:moveTo>
                <a:lnTo>
                  <a:pt x="10347056" y="71049"/>
                </a:lnTo>
                <a:lnTo>
                  <a:pt x="10343789" y="141282"/>
                </a:lnTo>
                <a:lnTo>
                  <a:pt x="10338889" y="209064"/>
                </a:lnTo>
                <a:lnTo>
                  <a:pt x="10333172" y="276030"/>
                </a:lnTo>
                <a:lnTo>
                  <a:pt x="10323373" y="339730"/>
                </a:lnTo>
                <a:lnTo>
                  <a:pt x="10313573" y="401796"/>
                </a:lnTo>
                <a:lnTo>
                  <a:pt x="10301323" y="461412"/>
                </a:lnTo>
                <a:lnTo>
                  <a:pt x="10286623" y="518578"/>
                </a:lnTo>
                <a:lnTo>
                  <a:pt x="10272740" y="575744"/>
                </a:lnTo>
                <a:lnTo>
                  <a:pt x="10254773" y="630460"/>
                </a:lnTo>
                <a:lnTo>
                  <a:pt x="10235990" y="682726"/>
                </a:lnTo>
                <a:lnTo>
                  <a:pt x="10217207" y="733359"/>
                </a:lnTo>
                <a:lnTo>
                  <a:pt x="10194341" y="782358"/>
                </a:lnTo>
                <a:lnTo>
                  <a:pt x="10172291" y="830541"/>
                </a:lnTo>
                <a:lnTo>
                  <a:pt x="10148608" y="874641"/>
                </a:lnTo>
                <a:lnTo>
                  <a:pt x="10123291" y="918740"/>
                </a:lnTo>
                <a:lnTo>
                  <a:pt x="10097975" y="962023"/>
                </a:lnTo>
                <a:lnTo>
                  <a:pt x="10071025" y="1002039"/>
                </a:lnTo>
                <a:lnTo>
                  <a:pt x="10042442" y="1041239"/>
                </a:lnTo>
                <a:lnTo>
                  <a:pt x="10013859" y="1079622"/>
                </a:lnTo>
                <a:lnTo>
                  <a:pt x="9983643" y="1114738"/>
                </a:lnTo>
                <a:lnTo>
                  <a:pt x="9951793" y="1149038"/>
                </a:lnTo>
                <a:lnTo>
                  <a:pt x="9919944" y="1182521"/>
                </a:lnTo>
                <a:lnTo>
                  <a:pt x="9888094" y="1214370"/>
                </a:lnTo>
                <a:lnTo>
                  <a:pt x="9854611" y="1244587"/>
                </a:lnTo>
                <a:lnTo>
                  <a:pt x="9821945" y="1273170"/>
                </a:lnTo>
                <a:lnTo>
                  <a:pt x="9786828" y="1301753"/>
                </a:lnTo>
                <a:lnTo>
                  <a:pt x="9751712" y="1328703"/>
                </a:lnTo>
                <a:lnTo>
                  <a:pt x="9716596" y="1352386"/>
                </a:lnTo>
                <a:lnTo>
                  <a:pt x="9681479" y="1376069"/>
                </a:lnTo>
                <a:lnTo>
                  <a:pt x="9645547" y="1400568"/>
                </a:lnTo>
                <a:lnTo>
                  <a:pt x="9610430" y="1420985"/>
                </a:lnTo>
                <a:lnTo>
                  <a:pt x="9573681" y="1441401"/>
                </a:lnTo>
                <a:lnTo>
                  <a:pt x="9537748" y="1460185"/>
                </a:lnTo>
                <a:lnTo>
                  <a:pt x="9500998" y="1479784"/>
                </a:lnTo>
                <a:lnTo>
                  <a:pt x="9464248" y="1495301"/>
                </a:lnTo>
                <a:lnTo>
                  <a:pt x="9391566" y="1527150"/>
                </a:lnTo>
                <a:lnTo>
                  <a:pt x="9319700" y="1554100"/>
                </a:lnTo>
                <a:lnTo>
                  <a:pt x="9248651" y="1577783"/>
                </a:lnTo>
                <a:lnTo>
                  <a:pt x="9178418" y="1599016"/>
                </a:lnTo>
                <a:lnTo>
                  <a:pt x="9112269" y="1616166"/>
                </a:lnTo>
                <a:lnTo>
                  <a:pt x="9046936" y="1630866"/>
                </a:lnTo>
                <a:lnTo>
                  <a:pt x="8984870" y="1643116"/>
                </a:lnTo>
                <a:lnTo>
                  <a:pt x="8926071" y="1652916"/>
                </a:lnTo>
                <a:lnTo>
                  <a:pt x="8872172" y="1660266"/>
                </a:lnTo>
                <a:lnTo>
                  <a:pt x="8821539" y="1665166"/>
                </a:lnTo>
                <a:lnTo>
                  <a:pt x="8776623" y="1668432"/>
                </a:lnTo>
                <a:lnTo>
                  <a:pt x="8737423" y="1671699"/>
                </a:lnTo>
                <a:lnTo>
                  <a:pt x="8675357" y="1673332"/>
                </a:lnTo>
                <a:lnTo>
                  <a:pt x="0" y="1673332"/>
                </a:lnTo>
                <a:lnTo>
                  <a:pt x="0" y="2979131"/>
                </a:lnTo>
                <a:lnTo>
                  <a:pt x="8675357" y="2979131"/>
                </a:lnTo>
                <a:lnTo>
                  <a:pt x="8737423" y="2977498"/>
                </a:lnTo>
                <a:lnTo>
                  <a:pt x="8776623" y="2974231"/>
                </a:lnTo>
                <a:lnTo>
                  <a:pt x="8821539" y="2970965"/>
                </a:lnTo>
                <a:lnTo>
                  <a:pt x="8872172" y="2966065"/>
                </a:lnTo>
                <a:lnTo>
                  <a:pt x="8926071" y="2958715"/>
                </a:lnTo>
                <a:lnTo>
                  <a:pt x="8984870" y="2948915"/>
                </a:lnTo>
                <a:lnTo>
                  <a:pt x="9046936" y="2936665"/>
                </a:lnTo>
                <a:lnTo>
                  <a:pt x="9112269" y="2921965"/>
                </a:lnTo>
                <a:lnTo>
                  <a:pt x="9178418" y="2904815"/>
                </a:lnTo>
                <a:lnTo>
                  <a:pt x="9248651" y="2883582"/>
                </a:lnTo>
                <a:lnTo>
                  <a:pt x="9319700" y="2859899"/>
                </a:lnTo>
                <a:lnTo>
                  <a:pt x="9391566" y="2832949"/>
                </a:lnTo>
                <a:lnTo>
                  <a:pt x="9464248" y="2801100"/>
                </a:lnTo>
                <a:lnTo>
                  <a:pt x="9500998" y="2785583"/>
                </a:lnTo>
                <a:lnTo>
                  <a:pt x="9537748" y="2765984"/>
                </a:lnTo>
                <a:lnTo>
                  <a:pt x="9573681" y="2747200"/>
                </a:lnTo>
                <a:lnTo>
                  <a:pt x="9610430" y="2726784"/>
                </a:lnTo>
                <a:lnTo>
                  <a:pt x="9645547" y="2706367"/>
                </a:lnTo>
                <a:lnTo>
                  <a:pt x="9681479" y="2681868"/>
                </a:lnTo>
                <a:lnTo>
                  <a:pt x="9716596" y="2658185"/>
                </a:lnTo>
                <a:lnTo>
                  <a:pt x="9751712" y="2634502"/>
                </a:lnTo>
                <a:lnTo>
                  <a:pt x="9786828" y="2607552"/>
                </a:lnTo>
                <a:lnTo>
                  <a:pt x="9821945" y="2578969"/>
                </a:lnTo>
                <a:lnTo>
                  <a:pt x="9854611" y="2550386"/>
                </a:lnTo>
                <a:lnTo>
                  <a:pt x="9888094" y="2520169"/>
                </a:lnTo>
                <a:lnTo>
                  <a:pt x="9919944" y="2488320"/>
                </a:lnTo>
                <a:lnTo>
                  <a:pt x="9951793" y="2454837"/>
                </a:lnTo>
                <a:lnTo>
                  <a:pt x="9983643" y="2420537"/>
                </a:lnTo>
                <a:lnTo>
                  <a:pt x="10013859" y="2385421"/>
                </a:lnTo>
                <a:lnTo>
                  <a:pt x="10042442" y="2347038"/>
                </a:lnTo>
                <a:lnTo>
                  <a:pt x="10071025" y="2307838"/>
                </a:lnTo>
                <a:lnTo>
                  <a:pt x="10097975" y="2267822"/>
                </a:lnTo>
                <a:lnTo>
                  <a:pt x="10123291" y="2224539"/>
                </a:lnTo>
                <a:lnTo>
                  <a:pt x="10148608" y="2180440"/>
                </a:lnTo>
                <a:lnTo>
                  <a:pt x="10172291" y="2136340"/>
                </a:lnTo>
                <a:lnTo>
                  <a:pt x="10194341" y="2088157"/>
                </a:lnTo>
                <a:lnTo>
                  <a:pt x="10217207" y="2039158"/>
                </a:lnTo>
                <a:lnTo>
                  <a:pt x="10235990" y="1988525"/>
                </a:lnTo>
                <a:lnTo>
                  <a:pt x="10254773" y="1936259"/>
                </a:lnTo>
                <a:lnTo>
                  <a:pt x="10272740" y="1881543"/>
                </a:lnTo>
                <a:lnTo>
                  <a:pt x="10286623" y="1824377"/>
                </a:lnTo>
                <a:lnTo>
                  <a:pt x="10301323" y="1767211"/>
                </a:lnTo>
                <a:lnTo>
                  <a:pt x="10313573" y="1707595"/>
                </a:lnTo>
                <a:lnTo>
                  <a:pt x="10323373" y="1645529"/>
                </a:lnTo>
                <a:lnTo>
                  <a:pt x="10333172" y="1581829"/>
                </a:lnTo>
                <a:lnTo>
                  <a:pt x="10338889" y="1514863"/>
                </a:lnTo>
                <a:lnTo>
                  <a:pt x="10343789" y="1447081"/>
                </a:lnTo>
                <a:lnTo>
                  <a:pt x="10347056" y="1376848"/>
                </a:lnTo>
                <a:lnTo>
                  <a:pt x="10348689" y="1305799"/>
                </a:lnTo>
                <a:lnTo>
                  <a:pt x="10348689" y="0"/>
                </a:lnTo>
                <a:close/>
              </a:path>
            </a:pathLst>
          </a:custGeom>
          <a:solidFill>
            <a:srgbClr val="80C2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/>
          </a:p>
        </p:txBody>
      </p:sp>
      <p:grpSp>
        <p:nvGrpSpPr>
          <p:cNvPr id="9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0" name="Imagem 9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1" name="Imagem 10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8013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0" y="0"/>
            <a:ext cx="12199143" cy="6858000"/>
          </a:xfrm>
          <a:prstGeom prst="rect">
            <a:avLst/>
          </a:prstGeom>
          <a:solidFill>
            <a:srgbClr val="347A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72" name="[Shape] Circuito">
            <a:extLst>
              <a:ext uri="{FF2B5EF4-FFF2-40B4-BE49-F238E27FC236}">
                <a16:creationId xmlns:a16="http://schemas.microsoft.com/office/drawing/2014/main" id="{49C837DF-B605-494A-A041-D5A3276FB769}"/>
              </a:ext>
            </a:extLst>
          </p:cNvPr>
          <p:cNvCxnSpPr>
            <a:cxnSpLocks/>
          </p:cNvCxnSpPr>
          <p:nvPr userDrawn="1"/>
        </p:nvCxnSpPr>
        <p:spPr>
          <a:xfrm>
            <a:off x="-249465" y="998764"/>
            <a:ext cx="10114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[Shape] Circuito">
            <a:extLst>
              <a:ext uri="{FF2B5EF4-FFF2-40B4-BE49-F238E27FC236}">
                <a16:creationId xmlns:a16="http://schemas.microsoft.com/office/drawing/2014/main" id="{B6F7F6E2-AD9E-431F-9720-9D6D82F1C133}"/>
              </a:ext>
            </a:extLst>
          </p:cNvPr>
          <p:cNvCxnSpPr>
            <a:cxnSpLocks/>
          </p:cNvCxnSpPr>
          <p:nvPr userDrawn="1"/>
        </p:nvCxnSpPr>
        <p:spPr>
          <a:xfrm>
            <a:off x="-249465" y="5292502"/>
            <a:ext cx="167821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[Shape] Circuito">
            <a:extLst>
              <a:ext uri="{FF2B5EF4-FFF2-40B4-BE49-F238E27FC236}">
                <a16:creationId xmlns:a16="http://schemas.microsoft.com/office/drawing/2014/main" id="{4AB0E28B-3C3A-49D5-9F2B-AA2BA6D9ECE6}"/>
              </a:ext>
            </a:extLst>
          </p:cNvPr>
          <p:cNvCxnSpPr/>
          <p:nvPr userDrawn="1"/>
        </p:nvCxnSpPr>
        <p:spPr>
          <a:xfrm>
            <a:off x="-249465" y="4637314"/>
            <a:ext cx="26116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[Shape] Circuito">
            <a:extLst>
              <a:ext uri="{FF2B5EF4-FFF2-40B4-BE49-F238E27FC236}">
                <a16:creationId xmlns:a16="http://schemas.microsoft.com/office/drawing/2014/main" id="{482B0D46-19CA-4B02-B1AD-71A62D77849F}"/>
              </a:ext>
            </a:extLst>
          </p:cNvPr>
          <p:cNvCxnSpPr>
            <a:cxnSpLocks/>
          </p:cNvCxnSpPr>
          <p:nvPr userDrawn="1"/>
        </p:nvCxnSpPr>
        <p:spPr>
          <a:xfrm>
            <a:off x="-249465" y="4942114"/>
            <a:ext cx="10114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[Shape] Circuito">
            <a:extLst>
              <a:ext uri="{FF2B5EF4-FFF2-40B4-BE49-F238E27FC236}">
                <a16:creationId xmlns:a16="http://schemas.microsoft.com/office/drawing/2014/main" id="{187A0969-45A4-43BF-B0D3-986A62DA3A24}"/>
              </a:ext>
            </a:extLst>
          </p:cNvPr>
          <p:cNvCxnSpPr/>
          <p:nvPr userDrawn="1"/>
        </p:nvCxnSpPr>
        <p:spPr>
          <a:xfrm>
            <a:off x="-249465" y="1322614"/>
            <a:ext cx="26116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5" name="Imagem 14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6" name="Imagem 15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799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tângulo 29"/>
          <p:cNvSpPr/>
          <p:nvPr userDrawn="1"/>
        </p:nvSpPr>
        <p:spPr>
          <a:xfrm>
            <a:off x="0" y="0"/>
            <a:ext cx="12199143" cy="6858000"/>
          </a:xfrm>
          <a:prstGeom prst="rect">
            <a:avLst/>
          </a:prstGeom>
          <a:solidFill>
            <a:srgbClr val="1855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" name="[Shape] Circuito">
            <a:extLst>
              <a:ext uri="{FF2B5EF4-FFF2-40B4-BE49-F238E27FC236}">
                <a16:creationId xmlns:a16="http://schemas.microsoft.com/office/drawing/2014/main" id="{49C837DF-B605-494A-A041-D5A3276FB769}"/>
              </a:ext>
            </a:extLst>
          </p:cNvPr>
          <p:cNvCxnSpPr>
            <a:cxnSpLocks/>
          </p:cNvCxnSpPr>
          <p:nvPr userDrawn="1"/>
        </p:nvCxnSpPr>
        <p:spPr>
          <a:xfrm>
            <a:off x="11488852" y="998764"/>
            <a:ext cx="10114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[Shape] Circuito">
            <a:extLst>
              <a:ext uri="{FF2B5EF4-FFF2-40B4-BE49-F238E27FC236}">
                <a16:creationId xmlns:a16="http://schemas.microsoft.com/office/drawing/2014/main" id="{B6F7F6E2-AD9E-431F-9720-9D6D82F1C133}"/>
              </a:ext>
            </a:extLst>
          </p:cNvPr>
          <p:cNvCxnSpPr>
            <a:cxnSpLocks/>
          </p:cNvCxnSpPr>
          <p:nvPr userDrawn="1"/>
        </p:nvCxnSpPr>
        <p:spPr>
          <a:xfrm>
            <a:off x="10822102" y="5292502"/>
            <a:ext cx="167821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[Shape] Circuito">
            <a:extLst>
              <a:ext uri="{FF2B5EF4-FFF2-40B4-BE49-F238E27FC236}">
                <a16:creationId xmlns:a16="http://schemas.microsoft.com/office/drawing/2014/main" id="{4AB0E28B-3C3A-49D5-9F2B-AA2BA6D9ECE6}"/>
              </a:ext>
            </a:extLst>
          </p:cNvPr>
          <p:cNvCxnSpPr/>
          <p:nvPr userDrawn="1"/>
        </p:nvCxnSpPr>
        <p:spPr>
          <a:xfrm>
            <a:off x="9888652" y="4637314"/>
            <a:ext cx="26116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[Shape] Circuito">
            <a:extLst>
              <a:ext uri="{FF2B5EF4-FFF2-40B4-BE49-F238E27FC236}">
                <a16:creationId xmlns:a16="http://schemas.microsoft.com/office/drawing/2014/main" id="{482B0D46-19CA-4B02-B1AD-71A62D77849F}"/>
              </a:ext>
            </a:extLst>
          </p:cNvPr>
          <p:cNvCxnSpPr>
            <a:cxnSpLocks/>
          </p:cNvCxnSpPr>
          <p:nvPr userDrawn="1"/>
        </p:nvCxnSpPr>
        <p:spPr>
          <a:xfrm>
            <a:off x="11488852" y="4942114"/>
            <a:ext cx="10114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[Shape] Circuito">
            <a:extLst>
              <a:ext uri="{FF2B5EF4-FFF2-40B4-BE49-F238E27FC236}">
                <a16:creationId xmlns:a16="http://schemas.microsoft.com/office/drawing/2014/main" id="{187A0969-45A4-43BF-B0D3-986A62DA3A24}"/>
              </a:ext>
            </a:extLst>
          </p:cNvPr>
          <p:cNvCxnSpPr/>
          <p:nvPr userDrawn="1"/>
        </p:nvCxnSpPr>
        <p:spPr>
          <a:xfrm>
            <a:off x="9888652" y="1322614"/>
            <a:ext cx="2611665" cy="0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19" name="Imagem 18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0095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[Shape] Cor"/>
          <p:cNvSpPr/>
          <p:nvPr userDrawn="1"/>
        </p:nvSpPr>
        <p:spPr>
          <a:xfrm>
            <a:off x="0" y="4758985"/>
            <a:ext cx="12192000" cy="1693408"/>
          </a:xfrm>
          <a:prstGeom prst="rect">
            <a:avLst/>
          </a:prstGeom>
          <a:solidFill>
            <a:srgbClr val="F58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[Shape] Trocar cor: Preenchmento da forma"/>
          <p:cNvSpPr>
            <a:spLocks/>
          </p:cNvSpPr>
          <p:nvPr userDrawn="1"/>
        </p:nvSpPr>
        <p:spPr bwMode="auto">
          <a:xfrm>
            <a:off x="-133350" y="4105947"/>
            <a:ext cx="12419012" cy="2135165"/>
          </a:xfrm>
          <a:custGeom>
            <a:avLst/>
            <a:gdLst>
              <a:gd name="T0" fmla="*/ 0 w 7730"/>
              <a:gd name="T1" fmla="*/ 1108 h 3085"/>
              <a:gd name="T2" fmla="*/ 0 w 7730"/>
              <a:gd name="T3" fmla="*/ 3040 h 3085"/>
              <a:gd name="T4" fmla="*/ 6344 w 7730"/>
              <a:gd name="T5" fmla="*/ 3040 h 3085"/>
              <a:gd name="T6" fmla="*/ 7680 w 7730"/>
              <a:gd name="T7" fmla="*/ 1881 h 3085"/>
              <a:gd name="T8" fmla="*/ 7680 w 7730"/>
              <a:gd name="T9" fmla="*/ 0 h 3085"/>
              <a:gd name="T10" fmla="*/ 6332 w 7730"/>
              <a:gd name="T11" fmla="*/ 1100 h 3085"/>
              <a:gd name="T12" fmla="*/ 2 w 7730"/>
              <a:gd name="T13" fmla="*/ 1100 h 3085"/>
              <a:gd name="T14" fmla="*/ 0 w 7730"/>
              <a:gd name="T15" fmla="*/ 1108 h 30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730" h="3085">
                <a:moveTo>
                  <a:pt x="0" y="1108"/>
                </a:moveTo>
                <a:cubicBezTo>
                  <a:pt x="0" y="3040"/>
                  <a:pt x="0" y="3040"/>
                  <a:pt x="0" y="3040"/>
                </a:cubicBezTo>
                <a:cubicBezTo>
                  <a:pt x="6344" y="3040"/>
                  <a:pt x="6344" y="3040"/>
                  <a:pt x="6344" y="3040"/>
                </a:cubicBezTo>
                <a:cubicBezTo>
                  <a:pt x="6344" y="3040"/>
                  <a:pt x="7680" y="3085"/>
                  <a:pt x="7680" y="1881"/>
                </a:cubicBezTo>
                <a:cubicBezTo>
                  <a:pt x="7680" y="677"/>
                  <a:pt x="7680" y="0"/>
                  <a:pt x="7680" y="0"/>
                </a:cubicBezTo>
                <a:cubicBezTo>
                  <a:pt x="7680" y="0"/>
                  <a:pt x="7730" y="1100"/>
                  <a:pt x="6332" y="1100"/>
                </a:cubicBezTo>
                <a:cubicBezTo>
                  <a:pt x="2" y="1100"/>
                  <a:pt x="2" y="1100"/>
                  <a:pt x="2" y="1100"/>
                </a:cubicBezTo>
                <a:lnTo>
                  <a:pt x="0" y="1108"/>
                </a:lnTo>
                <a:close/>
              </a:path>
            </a:pathLst>
          </a:custGeom>
          <a:solidFill>
            <a:srgbClr val="347A7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9" name="Rodapé">
            <a:extLst>
              <a:ext uri="{FF2B5EF4-FFF2-40B4-BE49-F238E27FC236}">
                <a16:creationId xmlns:a16="http://schemas.microsoft.com/office/drawing/2014/main" id="{4DB5089B-2A5E-4891-B5E8-9725642722CD}"/>
              </a:ext>
            </a:extLst>
          </p:cNvPr>
          <p:cNvGrpSpPr/>
          <p:nvPr userDrawn="1"/>
        </p:nvGrpSpPr>
        <p:grpSpPr>
          <a:xfrm>
            <a:off x="0" y="5784338"/>
            <a:ext cx="12199143" cy="1094947"/>
            <a:chOff x="0" y="5784338"/>
            <a:chExt cx="12199143" cy="1094947"/>
          </a:xfrm>
        </p:grpSpPr>
        <p:pic>
          <p:nvPicPr>
            <p:cNvPr id="20" name="Imagem 19">
              <a:extLst>
                <a:ext uri="{FF2B5EF4-FFF2-40B4-BE49-F238E27FC236}">
                  <a16:creationId xmlns:a16="http://schemas.microsoft.com/office/drawing/2014/main" id="{78B682E1-3579-4616-AD7A-E8B628428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5784338"/>
              <a:ext cx="12199143" cy="1094947"/>
            </a:xfrm>
            <a:prstGeom prst="rect">
              <a:avLst/>
            </a:prstGeom>
            <a:effectLst>
              <a:outerShdw blurRad="152400" dist="38100" dir="16200000" rotWithShape="0">
                <a:prstClr val="black">
                  <a:alpha val="11000"/>
                </a:prstClr>
              </a:outerShdw>
            </a:effectLst>
          </p:spPr>
        </p:pic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803C5352-72CE-404B-B288-DBE96CA527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61038" y="6165850"/>
              <a:ext cx="781097" cy="573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290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F62C75B8-F6BF-4DB5-8E5A-51278A931328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3046924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72" r:id="rId4"/>
    <p:sldLayoutId id="2147483673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2470161" y="351881"/>
            <a:ext cx="7867639" cy="6390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206418" y="1139130"/>
            <a:ext cx="11147382" cy="49526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7A0C25-A8C4-4A32-BE72-7B19A786FC85}" type="datetimeFigureOut">
              <a:rPr lang="pt-BR" smtClean="0"/>
              <a:t>23/12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0B776-7638-4AE9-9F56-3560DB5F4C84}" type="slidenum">
              <a:rPr lang="pt-BR" smtClean="0"/>
              <a:t>‹nº›</a:t>
            </a:fld>
            <a:endParaRPr lang="pt-BR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13"/>
          <a:srcRect l="91410" b="16707"/>
          <a:stretch/>
        </p:blipFill>
        <p:spPr>
          <a:xfrm>
            <a:off x="11176000" y="25899"/>
            <a:ext cx="1004575" cy="761501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 userDrawn="1"/>
        </p:nvPicPr>
        <p:blipFill rotWithShape="1">
          <a:blip r:embed="rId13"/>
          <a:srcRect l="-83" r="81730"/>
          <a:stretch/>
        </p:blipFill>
        <p:spPr>
          <a:xfrm>
            <a:off x="0" y="0"/>
            <a:ext cx="2146301" cy="914249"/>
          </a:xfrm>
          <a:prstGeom prst="rect">
            <a:avLst/>
          </a:prstGeom>
        </p:spPr>
      </p:pic>
      <p:sp>
        <p:nvSpPr>
          <p:cNvPr id="7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48B5EECE-47C4-4DE4-86B2-66D7DEEBF1A7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4223763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o 23"/>
          <p:cNvGrpSpPr/>
          <p:nvPr/>
        </p:nvGrpSpPr>
        <p:grpSpPr>
          <a:xfrm>
            <a:off x="5676900" y="4298725"/>
            <a:ext cx="7179375" cy="863238"/>
            <a:chOff x="-848463" y="885131"/>
            <a:chExt cx="7179375" cy="863238"/>
          </a:xfrm>
        </p:grpSpPr>
        <p:sp>
          <p:nvSpPr>
            <p:cNvPr id="25" name="[Shape] Circuito"/>
            <p:cNvSpPr/>
            <p:nvPr/>
          </p:nvSpPr>
          <p:spPr>
            <a:xfrm>
              <a:off x="-848463" y="885131"/>
              <a:ext cx="7179375" cy="770131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solidFill>
                <a:srgbClr val="80C24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[Detalhe] Forma"/>
            <p:cNvSpPr/>
            <p:nvPr/>
          </p:nvSpPr>
          <p:spPr>
            <a:xfrm>
              <a:off x="4710214" y="1574198"/>
              <a:ext cx="566057" cy="174171"/>
            </a:xfrm>
            <a:prstGeom prst="rect">
              <a:avLst/>
            </a:prstGeom>
            <a:solidFill>
              <a:srgbClr val="F58A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-424847" y="947030"/>
              <a:ext cx="518924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chemeClr val="bg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TÍTULO DO PROJETO</a:t>
              </a:r>
              <a:endParaRPr lang="pt-BR" sz="3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5302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Slide do think-cell" r:id="rId5" imgW="530" imgH="531" progId="TCLayout.ActiveDocument.1">
                  <p:embed/>
                </p:oleObj>
              </mc:Choice>
              <mc:Fallback>
                <p:oleObj name="Slide do think-cell" r:id="rId5" imgW="530" imgH="53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181" y="97881"/>
            <a:ext cx="7867639" cy="639067"/>
          </a:xfrm>
        </p:spPr>
        <p:txBody>
          <a:bodyPr>
            <a:normAutofit fontScale="90000"/>
          </a:bodyPr>
          <a:lstStyle/>
          <a:p>
            <a:r>
              <a:rPr lang="pt-BR" dirty="0"/>
              <a:t>Guia para a Apresentação Execu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3354" y="918534"/>
            <a:ext cx="5650067" cy="572610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1600" b="1" dirty="0"/>
              <a:t>Agenda</a:t>
            </a:r>
          </a:p>
          <a:p>
            <a:pPr marL="0" indent="0">
              <a:buNone/>
            </a:pPr>
            <a:r>
              <a:rPr lang="pt-BR" sz="1600" dirty="0"/>
              <a:t>Estejam preparados para:</a:t>
            </a:r>
          </a:p>
          <a:p>
            <a:pPr>
              <a:spcBef>
                <a:spcPts val="600"/>
              </a:spcBef>
            </a:pPr>
            <a:r>
              <a:rPr lang="pt-BR" sz="1600" dirty="0"/>
              <a:t>20 a 30 minutos de apresentação;</a:t>
            </a:r>
          </a:p>
          <a:p>
            <a:pPr>
              <a:spcBef>
                <a:spcPts val="600"/>
              </a:spcBef>
            </a:pPr>
            <a:r>
              <a:rPr lang="pt-BR" sz="1600" dirty="0"/>
              <a:t>Em seguida, 30 a 60 minutos de entrevista para responder aos questionamentos de especialistas das áreas de negócios.</a:t>
            </a:r>
          </a:p>
          <a:p>
            <a:endParaRPr lang="pt-BR" sz="900" dirty="0"/>
          </a:p>
          <a:p>
            <a:pPr marL="0" indent="0">
              <a:buNone/>
            </a:pPr>
            <a:r>
              <a:rPr lang="pt-BR" sz="1600" b="1" dirty="0"/>
              <a:t>Objetivo</a:t>
            </a:r>
          </a:p>
          <a:p>
            <a:r>
              <a:rPr lang="pt-BR" sz="1600" dirty="0"/>
              <a:t>Apresentar o que é a solução, como ela será aplicada, metodologias para desenvolvimento, riscos e desafios para sucesso da solução.</a:t>
            </a:r>
          </a:p>
          <a:p>
            <a:endParaRPr lang="pt-BR" sz="900" dirty="0"/>
          </a:p>
          <a:p>
            <a:pPr marL="0" indent="0">
              <a:buNone/>
            </a:pPr>
            <a:r>
              <a:rPr lang="pt-BR" sz="1600" b="1" dirty="0"/>
              <a:t>Premissas</a:t>
            </a:r>
          </a:p>
          <a:p>
            <a:pPr>
              <a:spcBef>
                <a:spcPts val="600"/>
              </a:spcBef>
            </a:pPr>
            <a:r>
              <a:rPr lang="pt-BR" sz="1600" dirty="0"/>
              <a:t>Elaborar material, conforme instruções fornecidas neste guia;</a:t>
            </a:r>
          </a:p>
          <a:p>
            <a:pPr>
              <a:spcBef>
                <a:spcPts val="600"/>
              </a:spcBef>
            </a:pPr>
            <a:r>
              <a:rPr lang="pt-BR" sz="1600" dirty="0"/>
              <a:t>Tomar nota dos direcionamentos para ajuste da proposta.</a:t>
            </a:r>
            <a:endParaRPr lang="pt-BR" sz="900" dirty="0"/>
          </a:p>
          <a:p>
            <a:pPr marL="0" indent="0">
              <a:buNone/>
            </a:pPr>
            <a:endParaRPr lang="pt-BR" sz="800" dirty="0"/>
          </a:p>
          <a:p>
            <a:pPr marL="0" indent="0">
              <a:buNone/>
            </a:pPr>
            <a:r>
              <a:rPr lang="pt-BR" sz="1600" b="1" dirty="0"/>
              <a:t>Resultados</a:t>
            </a:r>
            <a:endParaRPr lang="pt-BR" sz="1600" dirty="0"/>
          </a:p>
          <a:p>
            <a:r>
              <a:rPr lang="pt-BR" sz="1600" dirty="0"/>
              <a:t>A reunião de apresentação executiva fornecerá subsídios para o aprimoramento da proposta de projeto.</a:t>
            </a: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5999683" y="918534"/>
            <a:ext cx="6192317" cy="5539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údo mínimo necessário para esclarecer a proposta: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is produtos serão entregues?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pamentos, softwares, metodologias, plataformas, entre outros;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crevê-los de forma objetiva, indicando seu papel na solução global.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pt-BR" sz="1600" dirty="0">
                <a:solidFill>
                  <a:prstClr val="black"/>
                </a:solidFill>
              </a:rPr>
              <a:t>Como os produtos serão aplicados na prática?</a:t>
            </a:r>
          </a:p>
          <a:p>
            <a:pPr lvl="1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Esquemático da solução aplicada em cenário real;</a:t>
            </a:r>
          </a:p>
          <a:p>
            <a:pPr lvl="1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Passo a passo da utilização da solução pensada, tendo em vista sua aplicação prática.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pt-BR" sz="1600" dirty="0">
                <a:solidFill>
                  <a:prstClr val="black"/>
                </a:solidFill>
              </a:rPr>
              <a:t>Como garantir as macro etapas: (i) desenvolvimento (</a:t>
            </a:r>
            <a:r>
              <a:rPr lang="pt-BR" sz="1600" dirty="0" err="1">
                <a:solidFill>
                  <a:prstClr val="black"/>
                </a:solidFill>
              </a:rPr>
              <a:t>ii</a:t>
            </a:r>
            <a:r>
              <a:rPr lang="pt-BR" sz="1600" dirty="0">
                <a:solidFill>
                  <a:prstClr val="black"/>
                </a:solidFill>
              </a:rPr>
              <a:t>) teste e</a:t>
            </a:r>
            <a:br>
              <a:rPr lang="pt-BR" sz="1600" dirty="0">
                <a:solidFill>
                  <a:prstClr val="black"/>
                </a:solidFill>
              </a:rPr>
            </a:br>
            <a:r>
              <a:rPr lang="pt-BR" sz="1600" dirty="0">
                <a:solidFill>
                  <a:prstClr val="black"/>
                </a:solidFill>
              </a:rPr>
              <a:t>(</a:t>
            </a:r>
            <a:r>
              <a:rPr lang="pt-BR" sz="1600" dirty="0" err="1">
                <a:solidFill>
                  <a:prstClr val="black"/>
                </a:solidFill>
              </a:rPr>
              <a:t>iii</a:t>
            </a:r>
            <a:r>
              <a:rPr lang="pt-BR" sz="1600" dirty="0">
                <a:solidFill>
                  <a:prstClr val="black"/>
                </a:solidFill>
              </a:rPr>
              <a:t>) validação dos entregáveis?</a:t>
            </a:r>
          </a:p>
          <a:p>
            <a:pPr lvl="1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Qual a metodologia/estratégia será aplicada em cada macro etapa?</a:t>
            </a:r>
          </a:p>
          <a:p>
            <a:pPr lvl="1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Quais tipos de recursos serão necessários para tal?</a:t>
            </a:r>
          </a:p>
          <a:p>
            <a:pPr lvl="2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Informações (tipo, detalhamento, periodicidade, volume)</a:t>
            </a:r>
          </a:p>
          <a:p>
            <a:pPr lvl="2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Infraestrutura (qual?, por quanto tempo?, frequência estimada?)</a:t>
            </a:r>
          </a:p>
          <a:p>
            <a:pPr lvl="2">
              <a:spcBef>
                <a:spcPts val="0"/>
              </a:spcBef>
              <a:defRPr/>
            </a:pPr>
            <a:r>
              <a:rPr lang="pt-BR" sz="1400" dirty="0">
                <a:solidFill>
                  <a:prstClr val="black"/>
                </a:solidFill>
              </a:rPr>
              <a:t>Recursos Humanos (qual especialidade?, dedicação estimada [h], frequência das interações).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 a Originalidade do projeto, com ênfase na Inovação proposta?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is premissas foram assumidas para o desenvolvimento dos entregáveis? Detalhar os riscos e ações de mitigação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</a:t>
            </a:r>
            <a:r>
              <a:rPr kumimoji="0" lang="pt-BR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ÃO deverá</a:t>
            </a:r>
            <a:r>
              <a:rPr kumimoji="0" lang="pt-BR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nte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esentação institucional da empresa/instituição.</a:t>
            </a: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5781607" y="1139257"/>
            <a:ext cx="155814" cy="5400000"/>
            <a:chOff x="6002520" y="1184133"/>
            <a:chExt cx="155814" cy="5203790"/>
          </a:xfrm>
        </p:grpSpPr>
        <p:cxnSp>
          <p:nvCxnSpPr>
            <p:cNvPr id="7" name="Conector reto 6"/>
            <p:cNvCxnSpPr/>
            <p:nvPr/>
          </p:nvCxnSpPr>
          <p:spPr>
            <a:xfrm flipH="1">
              <a:off x="6002520" y="1184133"/>
              <a:ext cx="0" cy="520379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riângulo isósceles 7"/>
            <p:cNvSpPr/>
            <p:nvPr/>
          </p:nvSpPr>
          <p:spPr>
            <a:xfrm rot="5400000">
              <a:off x="5258334" y="3714028"/>
              <a:ext cx="1656000" cy="144000"/>
            </a:xfrm>
            <a:prstGeom prst="triangle">
              <a:avLst/>
            </a:prstGeom>
            <a:solidFill>
              <a:schemeClr val="bg2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3" name="Imagem 12" descr="Resultado de imagem para cpfl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639" y="97881"/>
            <a:ext cx="633713" cy="5726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upo 13"/>
          <p:cNvGrpSpPr/>
          <p:nvPr/>
        </p:nvGrpSpPr>
        <p:grpSpPr>
          <a:xfrm>
            <a:off x="2936875" y="723192"/>
            <a:ext cx="6318250" cy="635"/>
            <a:chOff x="0" y="561680"/>
            <a:chExt cx="9144000" cy="1098"/>
          </a:xfrm>
        </p:grpSpPr>
        <p:cxnSp>
          <p:nvCxnSpPr>
            <p:cNvPr id="15" name="Straight Connector 11"/>
            <p:cNvCxnSpPr/>
            <p:nvPr/>
          </p:nvCxnSpPr>
          <p:spPr>
            <a:xfrm>
              <a:off x="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16A8D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9"/>
            <p:cNvCxnSpPr/>
            <p:nvPr/>
          </p:nvCxnSpPr>
          <p:spPr>
            <a:xfrm>
              <a:off x="18288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F0871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20"/>
            <p:cNvCxnSpPr/>
            <p:nvPr/>
          </p:nvCxnSpPr>
          <p:spPr>
            <a:xfrm>
              <a:off x="36576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E21B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21"/>
            <p:cNvCxnSpPr/>
            <p:nvPr/>
          </p:nvCxnSpPr>
          <p:spPr>
            <a:xfrm>
              <a:off x="54864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8DBB2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23"/>
            <p:cNvCxnSpPr/>
            <p:nvPr/>
          </p:nvCxnSpPr>
          <p:spPr>
            <a:xfrm>
              <a:off x="73152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5378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Agrupar 3">
            <a:extLst>
              <a:ext uri="{FF2B5EF4-FFF2-40B4-BE49-F238E27FC236}">
                <a16:creationId xmlns:a16="http://schemas.microsoft.com/office/drawing/2014/main" id="{67FCBB3D-DBA7-4372-96A7-9A6D095758EB}"/>
              </a:ext>
            </a:extLst>
          </p:cNvPr>
          <p:cNvGrpSpPr/>
          <p:nvPr/>
        </p:nvGrpSpPr>
        <p:grpSpPr>
          <a:xfrm>
            <a:off x="1851577" y="1340908"/>
            <a:ext cx="3929830" cy="830997"/>
            <a:chOff x="4362449" y="1112866"/>
            <a:chExt cx="3929830" cy="830997"/>
          </a:xfrm>
        </p:grpSpPr>
        <p:sp>
          <p:nvSpPr>
            <p:cNvPr id="20" name="[Número]">
              <a:extLst>
                <a:ext uri="{FF2B5EF4-FFF2-40B4-BE49-F238E27FC236}">
                  <a16:creationId xmlns:a16="http://schemas.microsoft.com/office/drawing/2014/main" id="{035483A9-A0E6-4082-8CA5-6CD641778462}"/>
                </a:ext>
              </a:extLst>
            </p:cNvPr>
            <p:cNvSpPr txBox="1"/>
            <p:nvPr/>
          </p:nvSpPr>
          <p:spPr>
            <a:xfrm>
              <a:off x="4362449" y="1112866"/>
              <a:ext cx="97013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4800" b="1" dirty="0">
                  <a:ln w="12700">
                    <a:solidFill>
                      <a:srgbClr val="347A78"/>
                    </a:solidFill>
                  </a:ln>
                  <a:noFill/>
                  <a:latin typeface="+mj-lt"/>
                </a:rPr>
                <a:t>01</a:t>
              </a:r>
            </a:p>
          </p:txBody>
        </p:sp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87A7D273-48BF-442F-9E0A-D0DA4AFCB521}"/>
                </a:ext>
              </a:extLst>
            </p:cNvPr>
            <p:cNvSpPr/>
            <p:nvPr/>
          </p:nvSpPr>
          <p:spPr>
            <a:xfrm>
              <a:off x="5620265" y="1362748"/>
              <a:ext cx="267201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>
                  <a:solidFill>
                    <a:srgbClr val="0058A0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PRODUTOS ENTREGUES</a:t>
              </a:r>
              <a:endParaRPr lang="pt-BR" dirty="0">
                <a:solidFill>
                  <a:srgbClr val="0058A0"/>
                </a:solidFill>
                <a:latin typeface="+mj-lt"/>
              </a:endParaRPr>
            </a:p>
          </p:txBody>
        </p:sp>
      </p:grpSp>
      <p:grpSp>
        <p:nvGrpSpPr>
          <p:cNvPr id="31" name="Agrupar 32">
            <a:extLst>
              <a:ext uri="{FF2B5EF4-FFF2-40B4-BE49-F238E27FC236}">
                <a16:creationId xmlns:a16="http://schemas.microsoft.com/office/drawing/2014/main" id="{75765A0A-FB48-41F1-BD47-848F7262BA69}"/>
              </a:ext>
            </a:extLst>
          </p:cNvPr>
          <p:cNvGrpSpPr/>
          <p:nvPr/>
        </p:nvGrpSpPr>
        <p:grpSpPr>
          <a:xfrm>
            <a:off x="1851577" y="2100852"/>
            <a:ext cx="2744120" cy="830997"/>
            <a:chOff x="4362449" y="1112866"/>
            <a:chExt cx="2744120" cy="830997"/>
          </a:xfrm>
        </p:grpSpPr>
        <p:sp>
          <p:nvSpPr>
            <p:cNvPr id="33" name="[Número]">
              <a:extLst>
                <a:ext uri="{FF2B5EF4-FFF2-40B4-BE49-F238E27FC236}">
                  <a16:creationId xmlns:a16="http://schemas.microsoft.com/office/drawing/2014/main" id="{507902BB-7101-4957-A280-DBE858B0F8A0}"/>
                </a:ext>
              </a:extLst>
            </p:cNvPr>
            <p:cNvSpPr txBox="1"/>
            <p:nvPr/>
          </p:nvSpPr>
          <p:spPr>
            <a:xfrm>
              <a:off x="4362449" y="1112866"/>
              <a:ext cx="97013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4800" b="1" dirty="0">
                  <a:ln w="12700">
                    <a:solidFill>
                      <a:srgbClr val="347A78"/>
                    </a:solidFill>
                  </a:ln>
                  <a:noFill/>
                  <a:latin typeface="+mj-lt"/>
                </a:rPr>
                <a:t>02</a:t>
              </a:r>
            </a:p>
          </p:txBody>
        </p:sp>
        <p:sp>
          <p:nvSpPr>
            <p:cNvPr id="40" name="Retângulo 39">
              <a:extLst>
                <a:ext uri="{FF2B5EF4-FFF2-40B4-BE49-F238E27FC236}">
                  <a16:creationId xmlns:a16="http://schemas.microsoft.com/office/drawing/2014/main" id="{862AC20B-2091-43B8-A46A-A9A9EB0F1731}"/>
                </a:ext>
              </a:extLst>
            </p:cNvPr>
            <p:cNvSpPr/>
            <p:nvPr/>
          </p:nvSpPr>
          <p:spPr>
            <a:xfrm>
              <a:off x="5620265" y="1362748"/>
              <a:ext cx="14863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>
                  <a:solidFill>
                    <a:srgbClr val="0058A0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PLICAÇÕES</a:t>
              </a:r>
              <a:endParaRPr lang="pt-BR" dirty="0">
                <a:solidFill>
                  <a:srgbClr val="0058A0"/>
                </a:solidFill>
                <a:latin typeface="+mj-lt"/>
              </a:endParaRPr>
            </a:p>
          </p:txBody>
        </p:sp>
      </p:grpSp>
      <p:grpSp>
        <p:nvGrpSpPr>
          <p:cNvPr id="41" name="Agrupar 36">
            <a:extLst>
              <a:ext uri="{FF2B5EF4-FFF2-40B4-BE49-F238E27FC236}">
                <a16:creationId xmlns:a16="http://schemas.microsoft.com/office/drawing/2014/main" id="{2F1C0DB0-55B3-41B9-87A9-E6BFE198B4A3}"/>
              </a:ext>
            </a:extLst>
          </p:cNvPr>
          <p:cNvGrpSpPr/>
          <p:nvPr/>
        </p:nvGrpSpPr>
        <p:grpSpPr>
          <a:xfrm>
            <a:off x="1851577" y="2860796"/>
            <a:ext cx="4804621" cy="830997"/>
            <a:chOff x="4362449" y="1112866"/>
            <a:chExt cx="4804621" cy="830997"/>
          </a:xfrm>
        </p:grpSpPr>
        <p:sp>
          <p:nvSpPr>
            <p:cNvPr id="42" name="[Número]">
              <a:extLst>
                <a:ext uri="{FF2B5EF4-FFF2-40B4-BE49-F238E27FC236}">
                  <a16:creationId xmlns:a16="http://schemas.microsoft.com/office/drawing/2014/main" id="{582A45BF-E822-41B7-B671-7AECDD87F966}"/>
                </a:ext>
              </a:extLst>
            </p:cNvPr>
            <p:cNvSpPr txBox="1"/>
            <p:nvPr/>
          </p:nvSpPr>
          <p:spPr>
            <a:xfrm>
              <a:off x="4362449" y="1112866"/>
              <a:ext cx="97013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4800" b="1" dirty="0">
                  <a:ln w="12700">
                    <a:solidFill>
                      <a:srgbClr val="347A78"/>
                    </a:solidFill>
                  </a:ln>
                  <a:noFill/>
                  <a:latin typeface="+mj-lt"/>
                </a:rPr>
                <a:t>03</a:t>
              </a:r>
            </a:p>
          </p:txBody>
        </p:sp>
        <p:sp>
          <p:nvSpPr>
            <p:cNvPr id="44" name="Retângulo 43">
              <a:extLst>
                <a:ext uri="{FF2B5EF4-FFF2-40B4-BE49-F238E27FC236}">
                  <a16:creationId xmlns:a16="http://schemas.microsoft.com/office/drawing/2014/main" id="{EB1EF84D-6577-49D6-BF58-F3492FD5DA66}"/>
                </a:ext>
              </a:extLst>
            </p:cNvPr>
            <p:cNvSpPr/>
            <p:nvPr/>
          </p:nvSpPr>
          <p:spPr>
            <a:xfrm>
              <a:off x="5620265" y="1362748"/>
              <a:ext cx="354680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>
                  <a:solidFill>
                    <a:srgbClr val="0058A0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METODOLOGIA E CRONOGRAMA</a:t>
              </a:r>
              <a:endParaRPr lang="pt-BR" dirty="0">
                <a:solidFill>
                  <a:srgbClr val="0058A0"/>
                </a:solidFill>
                <a:latin typeface="+mj-lt"/>
              </a:endParaRPr>
            </a:p>
          </p:txBody>
        </p:sp>
      </p:grpSp>
      <p:grpSp>
        <p:nvGrpSpPr>
          <p:cNvPr id="45" name="Agrupar 40">
            <a:extLst>
              <a:ext uri="{FF2B5EF4-FFF2-40B4-BE49-F238E27FC236}">
                <a16:creationId xmlns:a16="http://schemas.microsoft.com/office/drawing/2014/main" id="{C660DAE8-826A-434E-B109-0A2569FEA0C3}"/>
              </a:ext>
            </a:extLst>
          </p:cNvPr>
          <p:cNvGrpSpPr/>
          <p:nvPr/>
        </p:nvGrpSpPr>
        <p:grpSpPr>
          <a:xfrm>
            <a:off x="1851577" y="3620740"/>
            <a:ext cx="4538073" cy="830997"/>
            <a:chOff x="4362449" y="1112866"/>
            <a:chExt cx="4538073" cy="830997"/>
          </a:xfrm>
        </p:grpSpPr>
        <p:sp>
          <p:nvSpPr>
            <p:cNvPr id="46" name="[Número]">
              <a:extLst>
                <a:ext uri="{FF2B5EF4-FFF2-40B4-BE49-F238E27FC236}">
                  <a16:creationId xmlns:a16="http://schemas.microsoft.com/office/drawing/2014/main" id="{65D91A9D-FB0F-41B4-99BF-6C576C65A8C3}"/>
                </a:ext>
              </a:extLst>
            </p:cNvPr>
            <p:cNvSpPr txBox="1"/>
            <p:nvPr/>
          </p:nvSpPr>
          <p:spPr>
            <a:xfrm>
              <a:off x="4362449" y="1112866"/>
              <a:ext cx="97013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4800" b="1" dirty="0">
                  <a:ln w="12700">
                    <a:solidFill>
                      <a:srgbClr val="347A78"/>
                    </a:solidFill>
                  </a:ln>
                  <a:noFill/>
                  <a:latin typeface="+mj-lt"/>
                </a:rPr>
                <a:t>04</a:t>
              </a:r>
            </a:p>
          </p:txBody>
        </p:sp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D54C40D4-94C5-41FF-9FDA-48EC0201F7BC}"/>
                </a:ext>
              </a:extLst>
            </p:cNvPr>
            <p:cNvSpPr/>
            <p:nvPr/>
          </p:nvSpPr>
          <p:spPr>
            <a:xfrm>
              <a:off x="5620265" y="1362748"/>
              <a:ext cx="328025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>
                  <a:solidFill>
                    <a:srgbClr val="0058A0"/>
                  </a:solidFill>
                  <a:ea typeface="Verdana" panose="020B0604030504040204" pitchFamily="34" charset="0"/>
                </a:rPr>
                <a:t>INOVAÇÃO E ORIGINALIDADE</a:t>
              </a:r>
              <a:endParaRPr lang="pt-BR" dirty="0">
                <a:solidFill>
                  <a:srgbClr val="0058A0"/>
                </a:solidFill>
                <a:latin typeface="+mj-lt"/>
              </a:endParaRPr>
            </a:p>
          </p:txBody>
        </p:sp>
      </p:grpSp>
      <p:grpSp>
        <p:nvGrpSpPr>
          <p:cNvPr id="49" name="Agrupar 44">
            <a:extLst>
              <a:ext uri="{FF2B5EF4-FFF2-40B4-BE49-F238E27FC236}">
                <a16:creationId xmlns:a16="http://schemas.microsoft.com/office/drawing/2014/main" id="{F02D75E1-7C57-46EC-8E30-F153444E84FA}"/>
              </a:ext>
            </a:extLst>
          </p:cNvPr>
          <p:cNvGrpSpPr/>
          <p:nvPr/>
        </p:nvGrpSpPr>
        <p:grpSpPr>
          <a:xfrm>
            <a:off x="1851577" y="4380684"/>
            <a:ext cx="3685275" cy="830997"/>
            <a:chOff x="4362449" y="1112866"/>
            <a:chExt cx="3685275" cy="830997"/>
          </a:xfrm>
        </p:grpSpPr>
        <p:sp>
          <p:nvSpPr>
            <p:cNvPr id="50" name="[Número]">
              <a:extLst>
                <a:ext uri="{FF2B5EF4-FFF2-40B4-BE49-F238E27FC236}">
                  <a16:creationId xmlns:a16="http://schemas.microsoft.com/office/drawing/2014/main" id="{BB021853-0B15-435A-944E-884CB2F2DE78}"/>
                </a:ext>
              </a:extLst>
            </p:cNvPr>
            <p:cNvSpPr txBox="1"/>
            <p:nvPr/>
          </p:nvSpPr>
          <p:spPr>
            <a:xfrm>
              <a:off x="4362449" y="1112866"/>
              <a:ext cx="97013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4800" b="1" dirty="0">
                  <a:ln w="12700">
                    <a:solidFill>
                      <a:srgbClr val="347A78"/>
                    </a:solidFill>
                  </a:ln>
                  <a:noFill/>
                  <a:latin typeface="+mj-lt"/>
                </a:rPr>
                <a:t>05</a:t>
              </a:r>
            </a:p>
          </p:txBody>
        </p:sp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93291B5F-04C7-4611-8161-177B03B756FC}"/>
                </a:ext>
              </a:extLst>
            </p:cNvPr>
            <p:cNvSpPr/>
            <p:nvPr/>
          </p:nvSpPr>
          <p:spPr>
            <a:xfrm>
              <a:off x="5620265" y="1362748"/>
              <a:ext cx="242745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dirty="0">
                  <a:solidFill>
                    <a:srgbClr val="0058A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REMISSAS E RISCOS</a:t>
              </a:r>
              <a:endParaRPr lang="pt-BR" dirty="0">
                <a:solidFill>
                  <a:srgbClr val="0058A0"/>
                </a:solidFill>
                <a:latin typeface="+mj-lt"/>
                <a:ea typeface="Verdana" panose="020B0604030504040204" pitchFamily="34" charset="0"/>
              </a:endParaRPr>
            </a:p>
          </p:txBody>
        </p:sp>
      </p:grpSp>
      <p:sp>
        <p:nvSpPr>
          <p:cNvPr id="21" name="Retângulo: Cantos Arredondados 1">
            <a:extLst>
              <a:ext uri="{FF2B5EF4-FFF2-40B4-BE49-F238E27FC236}">
                <a16:creationId xmlns:a16="http://schemas.microsoft.com/office/drawing/2014/main" id="{47A6A4CA-7C2B-41A3-89A7-30802437AE31}"/>
              </a:ext>
            </a:extLst>
          </p:cNvPr>
          <p:cNvSpPr/>
          <p:nvPr/>
        </p:nvSpPr>
        <p:spPr>
          <a:xfrm>
            <a:off x="2914748" y="1471363"/>
            <a:ext cx="7328327" cy="570086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2" name="Retângulo: Cantos Arredondados 34">
            <a:extLst>
              <a:ext uri="{FF2B5EF4-FFF2-40B4-BE49-F238E27FC236}">
                <a16:creationId xmlns:a16="http://schemas.microsoft.com/office/drawing/2014/main" id="{D65A1907-8753-4FDB-80DC-352E3EE98E9E}"/>
              </a:ext>
            </a:extLst>
          </p:cNvPr>
          <p:cNvSpPr/>
          <p:nvPr/>
        </p:nvSpPr>
        <p:spPr>
          <a:xfrm>
            <a:off x="2914748" y="2231307"/>
            <a:ext cx="7328327" cy="570086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3" name="Retângulo: Cantos Arredondados 38">
            <a:extLst>
              <a:ext uri="{FF2B5EF4-FFF2-40B4-BE49-F238E27FC236}">
                <a16:creationId xmlns:a16="http://schemas.microsoft.com/office/drawing/2014/main" id="{87CC573B-998E-4428-A5F7-36430A7167FB}"/>
              </a:ext>
            </a:extLst>
          </p:cNvPr>
          <p:cNvSpPr/>
          <p:nvPr/>
        </p:nvSpPr>
        <p:spPr>
          <a:xfrm>
            <a:off x="2914748" y="2991251"/>
            <a:ext cx="7328327" cy="570086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4" name="Retângulo: Cantos Arredondados 42">
            <a:extLst>
              <a:ext uri="{FF2B5EF4-FFF2-40B4-BE49-F238E27FC236}">
                <a16:creationId xmlns:a16="http://schemas.microsoft.com/office/drawing/2014/main" id="{0AB23FEC-E56B-41B2-A368-77FF4B21F212}"/>
              </a:ext>
            </a:extLst>
          </p:cNvPr>
          <p:cNvSpPr/>
          <p:nvPr/>
        </p:nvSpPr>
        <p:spPr>
          <a:xfrm>
            <a:off x="2914748" y="3751195"/>
            <a:ext cx="7328327" cy="570086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5" name="Retângulo: Cantos Arredondados 46">
            <a:extLst>
              <a:ext uri="{FF2B5EF4-FFF2-40B4-BE49-F238E27FC236}">
                <a16:creationId xmlns:a16="http://schemas.microsoft.com/office/drawing/2014/main" id="{4A4D2583-A09C-4DC7-9E90-410D6160C6A7}"/>
              </a:ext>
            </a:extLst>
          </p:cNvPr>
          <p:cNvSpPr/>
          <p:nvPr/>
        </p:nvSpPr>
        <p:spPr>
          <a:xfrm>
            <a:off x="2914748" y="4511139"/>
            <a:ext cx="7328327" cy="570086"/>
          </a:xfrm>
          <a:prstGeom prst="roundRect">
            <a:avLst>
              <a:gd name="adj" fmla="val 50000"/>
            </a:avLst>
          </a:prstGeom>
          <a:noFill/>
          <a:ln>
            <a:solidFill>
              <a:srgbClr val="0058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/>
          </a:p>
        </p:txBody>
      </p:sp>
      <p:sp>
        <p:nvSpPr>
          <p:cNvPr id="27" name="[Shape] Circuito"/>
          <p:cNvSpPr/>
          <p:nvPr/>
        </p:nvSpPr>
        <p:spPr>
          <a:xfrm>
            <a:off x="-1140251" y="283401"/>
            <a:ext cx="4097142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347A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38100" y="345300"/>
            <a:ext cx="1927131" cy="788766"/>
            <a:chOff x="38100" y="345300"/>
            <a:chExt cx="1927131" cy="788766"/>
          </a:xfrm>
        </p:grpSpPr>
        <p:sp>
          <p:nvSpPr>
            <p:cNvPr id="35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38100" y="345300"/>
              <a:ext cx="192713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ÍNDICE</a:t>
              </a:r>
              <a:endParaRPr lang="pt-BR" sz="3200" b="1" dirty="0">
                <a:solidFill>
                  <a:srgbClr val="F58A1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[Detalhe] Forma"/>
            <p:cNvSpPr/>
            <p:nvPr/>
          </p:nvSpPr>
          <p:spPr>
            <a:xfrm>
              <a:off x="1285520" y="959895"/>
              <a:ext cx="566057" cy="174171"/>
            </a:xfrm>
            <a:prstGeom prst="rect">
              <a:avLst/>
            </a:prstGeom>
            <a:solidFill>
              <a:srgbClr val="347A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2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[Número]">
            <a:extLst>
              <a:ext uri="{FF2B5EF4-FFF2-40B4-BE49-F238E27FC236}">
                <a16:creationId xmlns:a16="http://schemas.microsoft.com/office/drawing/2014/main" id="{E9C3F7F2-ADB1-40E1-BB29-D85092643B65}"/>
              </a:ext>
            </a:extLst>
          </p:cNvPr>
          <p:cNvSpPr txBox="1"/>
          <p:nvPr/>
        </p:nvSpPr>
        <p:spPr>
          <a:xfrm>
            <a:off x="208396" y="310227"/>
            <a:ext cx="7713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>
                <a:ln w="12700">
                  <a:solidFill>
                    <a:srgbClr val="F58A1F"/>
                  </a:solidFill>
                </a:ln>
                <a:noFill/>
                <a:latin typeface="+mj-lt"/>
              </a:rPr>
              <a:t>01</a:t>
            </a:r>
          </a:p>
        </p:txBody>
      </p:sp>
      <p:sp>
        <p:nvSpPr>
          <p:cNvPr id="28" name="[Shape] Circuito"/>
          <p:cNvSpPr/>
          <p:nvPr/>
        </p:nvSpPr>
        <p:spPr>
          <a:xfrm>
            <a:off x="-590551" y="282788"/>
            <a:ext cx="7773775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979761" y="332241"/>
            <a:ext cx="5735866" cy="812344"/>
            <a:chOff x="979761" y="332241"/>
            <a:chExt cx="5735866" cy="812344"/>
          </a:xfrm>
        </p:grpSpPr>
        <p:sp>
          <p:nvSpPr>
            <p:cNvPr id="24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979761" y="332241"/>
              <a:ext cx="573586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PRODUTOS ENTREGUES</a:t>
              </a:r>
            </a:p>
          </p:txBody>
        </p:sp>
        <p:sp>
          <p:nvSpPr>
            <p:cNvPr id="30" name="[Detalhe] Forma"/>
            <p:cNvSpPr/>
            <p:nvPr/>
          </p:nvSpPr>
          <p:spPr>
            <a:xfrm>
              <a:off x="4691051" y="970414"/>
              <a:ext cx="454790" cy="17417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1" name="[Texto]">
            <a:extLst>
              <a:ext uri="{FF2B5EF4-FFF2-40B4-BE49-F238E27FC236}">
                <a16:creationId xmlns:a16="http://schemas.microsoft.com/office/drawing/2014/main" id="{3392A19E-9937-4DD3-959D-297B8B176897}"/>
              </a:ext>
            </a:extLst>
          </p:cNvPr>
          <p:cNvSpPr txBox="1"/>
          <p:nvPr/>
        </p:nvSpPr>
        <p:spPr>
          <a:xfrm>
            <a:off x="712697" y="1691092"/>
            <a:ext cx="688628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ais produtos serão entregues?</a:t>
            </a:r>
          </a:p>
          <a:p>
            <a:endParaRPr lang="pt-BR" sz="1600" dirty="0">
              <a:solidFill>
                <a:srgbClr val="636463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quipamentos, softwares, metodologias, plataformas, entre outro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screvê-los de forma objetiva, indicando seu papel na solução global.</a:t>
            </a:r>
          </a:p>
        </p:txBody>
      </p:sp>
    </p:spTree>
    <p:extLst>
      <p:ext uri="{BB962C8B-B14F-4D97-AF65-F5344CB8AC3E}">
        <p14:creationId xmlns:p14="http://schemas.microsoft.com/office/powerpoint/2010/main" val="202957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[Número]">
            <a:extLst>
              <a:ext uri="{FF2B5EF4-FFF2-40B4-BE49-F238E27FC236}">
                <a16:creationId xmlns:a16="http://schemas.microsoft.com/office/drawing/2014/main" id="{E9C3F7F2-ADB1-40E1-BB29-D85092643B65}"/>
              </a:ext>
            </a:extLst>
          </p:cNvPr>
          <p:cNvSpPr txBox="1"/>
          <p:nvPr/>
        </p:nvSpPr>
        <p:spPr>
          <a:xfrm>
            <a:off x="208396" y="310227"/>
            <a:ext cx="7713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>
                <a:ln w="12700">
                  <a:solidFill>
                    <a:srgbClr val="F58A1F"/>
                  </a:solidFill>
                </a:ln>
                <a:noFill/>
                <a:latin typeface="+mj-lt"/>
              </a:rPr>
              <a:t>02</a:t>
            </a:r>
          </a:p>
        </p:txBody>
      </p:sp>
      <p:sp>
        <p:nvSpPr>
          <p:cNvPr id="28" name="[Shape] Circuito"/>
          <p:cNvSpPr/>
          <p:nvPr/>
        </p:nvSpPr>
        <p:spPr>
          <a:xfrm>
            <a:off x="-590551" y="282788"/>
            <a:ext cx="7773775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979761" y="332241"/>
            <a:ext cx="4166080" cy="812344"/>
            <a:chOff x="979761" y="332241"/>
            <a:chExt cx="4166080" cy="812344"/>
          </a:xfrm>
        </p:grpSpPr>
        <p:sp>
          <p:nvSpPr>
            <p:cNvPr id="24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979761" y="332241"/>
              <a:ext cx="315342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APLICAÇÕES</a:t>
              </a:r>
            </a:p>
          </p:txBody>
        </p:sp>
        <p:sp>
          <p:nvSpPr>
            <p:cNvPr id="30" name="[Detalhe] Forma"/>
            <p:cNvSpPr/>
            <p:nvPr/>
          </p:nvSpPr>
          <p:spPr>
            <a:xfrm>
              <a:off x="4691051" y="970414"/>
              <a:ext cx="454790" cy="17417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1" name="[Texto]">
            <a:extLst>
              <a:ext uri="{FF2B5EF4-FFF2-40B4-BE49-F238E27FC236}">
                <a16:creationId xmlns:a16="http://schemas.microsoft.com/office/drawing/2014/main" id="{3392A19E-9937-4DD3-959D-297B8B176897}"/>
              </a:ext>
            </a:extLst>
          </p:cNvPr>
          <p:cNvSpPr txBox="1"/>
          <p:nvPr/>
        </p:nvSpPr>
        <p:spPr>
          <a:xfrm>
            <a:off x="712696" y="1691092"/>
            <a:ext cx="8636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mo os produtos serão aplicados na prática?</a:t>
            </a:r>
          </a:p>
          <a:p>
            <a:endParaRPr lang="pt-BR" sz="1600" dirty="0">
              <a:solidFill>
                <a:srgbClr val="636463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squemático da solução aplicada em cenário real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asso a passo da utilização da solução pensada, tendo em vista sua aplicação prática.</a:t>
            </a:r>
          </a:p>
        </p:txBody>
      </p:sp>
    </p:spTree>
    <p:extLst>
      <p:ext uri="{BB962C8B-B14F-4D97-AF65-F5344CB8AC3E}">
        <p14:creationId xmlns:p14="http://schemas.microsoft.com/office/powerpoint/2010/main" val="131887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[Número]">
            <a:extLst>
              <a:ext uri="{FF2B5EF4-FFF2-40B4-BE49-F238E27FC236}">
                <a16:creationId xmlns:a16="http://schemas.microsoft.com/office/drawing/2014/main" id="{E9C3F7F2-ADB1-40E1-BB29-D85092643B65}"/>
              </a:ext>
            </a:extLst>
          </p:cNvPr>
          <p:cNvSpPr txBox="1"/>
          <p:nvPr/>
        </p:nvSpPr>
        <p:spPr>
          <a:xfrm>
            <a:off x="208396" y="310227"/>
            <a:ext cx="7713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>
                <a:ln w="12700">
                  <a:solidFill>
                    <a:srgbClr val="F58A1F"/>
                  </a:solidFill>
                </a:ln>
                <a:noFill/>
                <a:latin typeface="+mj-lt"/>
              </a:rPr>
              <a:t>03</a:t>
            </a:r>
          </a:p>
        </p:txBody>
      </p:sp>
      <p:sp>
        <p:nvSpPr>
          <p:cNvPr id="28" name="[Shape] Circuito"/>
          <p:cNvSpPr/>
          <p:nvPr/>
        </p:nvSpPr>
        <p:spPr>
          <a:xfrm>
            <a:off x="-590551" y="282788"/>
            <a:ext cx="9531351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979761" y="332241"/>
            <a:ext cx="8135210" cy="812344"/>
            <a:chOff x="979761" y="332241"/>
            <a:chExt cx="7713971" cy="812344"/>
          </a:xfrm>
        </p:grpSpPr>
        <p:sp>
          <p:nvSpPr>
            <p:cNvPr id="24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979761" y="332241"/>
              <a:ext cx="771397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METODOLOGIA E CRONOGRAMA</a:t>
              </a:r>
            </a:p>
          </p:txBody>
        </p:sp>
        <p:sp>
          <p:nvSpPr>
            <p:cNvPr id="30" name="[Detalhe] Forma"/>
            <p:cNvSpPr/>
            <p:nvPr/>
          </p:nvSpPr>
          <p:spPr>
            <a:xfrm>
              <a:off x="7289108" y="970414"/>
              <a:ext cx="454790" cy="17417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1" name="[Texto]">
            <a:extLst>
              <a:ext uri="{FF2B5EF4-FFF2-40B4-BE49-F238E27FC236}">
                <a16:creationId xmlns:a16="http://schemas.microsoft.com/office/drawing/2014/main" id="{3392A19E-9937-4DD3-959D-297B8B176897}"/>
              </a:ext>
            </a:extLst>
          </p:cNvPr>
          <p:cNvSpPr txBox="1"/>
          <p:nvPr/>
        </p:nvSpPr>
        <p:spPr>
          <a:xfrm>
            <a:off x="712695" y="1691092"/>
            <a:ext cx="93772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omo garantir as macro etapas: (i) desenvolvimento (</a:t>
            </a:r>
            <a:r>
              <a:rPr lang="pt-BR" sz="1600" dirty="0" err="1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i</a:t>
            </a: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) teste e (</a:t>
            </a:r>
            <a:r>
              <a:rPr lang="pt-BR" sz="1600" dirty="0" err="1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ii</a:t>
            </a: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) validação dos entregáveis?</a:t>
            </a:r>
          </a:p>
          <a:p>
            <a:endParaRPr lang="pt-BR" sz="1600" dirty="0">
              <a:solidFill>
                <a:srgbClr val="636463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al a metodologia/estratégia será aplicada em cada macro etapa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ais tipos de recursos serão necessários para tal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formações (tipo, detalhamento, periodicidade, volume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fraestrutura (qual?, por quanto tempo?, frequência estimada?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cursos Humanos (qual especialidade?, dedicação estimada [h], frequência das interações).</a:t>
            </a:r>
          </a:p>
        </p:txBody>
      </p:sp>
    </p:spTree>
    <p:extLst>
      <p:ext uri="{BB962C8B-B14F-4D97-AF65-F5344CB8AC3E}">
        <p14:creationId xmlns:p14="http://schemas.microsoft.com/office/powerpoint/2010/main" val="156135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[Número]">
            <a:extLst>
              <a:ext uri="{FF2B5EF4-FFF2-40B4-BE49-F238E27FC236}">
                <a16:creationId xmlns:a16="http://schemas.microsoft.com/office/drawing/2014/main" id="{E9C3F7F2-ADB1-40E1-BB29-D85092643B65}"/>
              </a:ext>
            </a:extLst>
          </p:cNvPr>
          <p:cNvSpPr txBox="1"/>
          <p:nvPr/>
        </p:nvSpPr>
        <p:spPr>
          <a:xfrm>
            <a:off x="208396" y="310227"/>
            <a:ext cx="7713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>
                <a:ln w="12700">
                  <a:solidFill>
                    <a:srgbClr val="F58A1F"/>
                  </a:solidFill>
                </a:ln>
                <a:noFill/>
                <a:latin typeface="+mj-lt"/>
              </a:rPr>
              <a:t>04</a:t>
            </a:r>
          </a:p>
        </p:txBody>
      </p:sp>
      <p:sp>
        <p:nvSpPr>
          <p:cNvPr id="28" name="[Shape] Circuito"/>
          <p:cNvSpPr/>
          <p:nvPr/>
        </p:nvSpPr>
        <p:spPr>
          <a:xfrm>
            <a:off x="-590551" y="282788"/>
            <a:ext cx="9531351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979761" y="332241"/>
            <a:ext cx="7217040" cy="812344"/>
            <a:chOff x="979761" y="332241"/>
            <a:chExt cx="6843344" cy="812344"/>
          </a:xfrm>
        </p:grpSpPr>
        <p:sp>
          <p:nvSpPr>
            <p:cNvPr id="24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979761" y="332241"/>
              <a:ext cx="684334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INOVAÇÃO E ORIGINALIDADE</a:t>
              </a:r>
            </a:p>
          </p:txBody>
        </p:sp>
        <p:sp>
          <p:nvSpPr>
            <p:cNvPr id="30" name="[Detalhe] Forma"/>
            <p:cNvSpPr/>
            <p:nvPr/>
          </p:nvSpPr>
          <p:spPr>
            <a:xfrm>
              <a:off x="7289108" y="970414"/>
              <a:ext cx="454790" cy="17417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1" name="[Texto]">
            <a:extLst>
              <a:ext uri="{FF2B5EF4-FFF2-40B4-BE49-F238E27FC236}">
                <a16:creationId xmlns:a16="http://schemas.microsoft.com/office/drawing/2014/main" id="{3392A19E-9937-4DD3-959D-297B8B176897}"/>
              </a:ext>
            </a:extLst>
          </p:cNvPr>
          <p:cNvSpPr txBox="1"/>
          <p:nvPr/>
        </p:nvSpPr>
        <p:spPr>
          <a:xfrm>
            <a:off x="712697" y="1691092"/>
            <a:ext cx="6760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al a Originalidade do projeto, com ênfase na Inovação proposta?</a:t>
            </a:r>
          </a:p>
        </p:txBody>
      </p:sp>
    </p:spTree>
    <p:extLst>
      <p:ext uri="{BB962C8B-B14F-4D97-AF65-F5344CB8AC3E}">
        <p14:creationId xmlns:p14="http://schemas.microsoft.com/office/powerpoint/2010/main" val="287028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[Número]">
            <a:extLst>
              <a:ext uri="{FF2B5EF4-FFF2-40B4-BE49-F238E27FC236}">
                <a16:creationId xmlns:a16="http://schemas.microsoft.com/office/drawing/2014/main" id="{E9C3F7F2-ADB1-40E1-BB29-D85092643B65}"/>
              </a:ext>
            </a:extLst>
          </p:cNvPr>
          <p:cNvSpPr txBox="1"/>
          <p:nvPr/>
        </p:nvSpPr>
        <p:spPr>
          <a:xfrm>
            <a:off x="208396" y="310227"/>
            <a:ext cx="7713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600" b="1" dirty="0">
                <a:ln w="12700">
                  <a:solidFill>
                    <a:srgbClr val="F58A1F"/>
                  </a:solidFill>
                </a:ln>
                <a:noFill/>
                <a:latin typeface="+mj-lt"/>
              </a:rPr>
              <a:t>05</a:t>
            </a:r>
          </a:p>
        </p:txBody>
      </p:sp>
      <p:sp>
        <p:nvSpPr>
          <p:cNvPr id="28" name="[Shape] Circuito"/>
          <p:cNvSpPr/>
          <p:nvPr/>
        </p:nvSpPr>
        <p:spPr>
          <a:xfrm>
            <a:off x="-590551" y="282788"/>
            <a:ext cx="7773775" cy="770131"/>
          </a:xfrm>
          <a:prstGeom prst="roundRect">
            <a:avLst>
              <a:gd name="adj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2" name="Grupo 1"/>
          <p:cNvGrpSpPr/>
          <p:nvPr/>
        </p:nvGrpSpPr>
        <p:grpSpPr>
          <a:xfrm>
            <a:off x="979761" y="332241"/>
            <a:ext cx="5290231" cy="812344"/>
            <a:chOff x="979761" y="332241"/>
            <a:chExt cx="5290231" cy="812344"/>
          </a:xfrm>
        </p:grpSpPr>
        <p:sp>
          <p:nvSpPr>
            <p:cNvPr id="24" name="[Título]">
              <a:extLst>
                <a:ext uri="{FF2B5EF4-FFF2-40B4-BE49-F238E27FC236}">
                  <a16:creationId xmlns:a16="http://schemas.microsoft.com/office/drawing/2014/main" id="{40BD27E6-0C46-4BA1-B838-54CF6F9C254D}"/>
                </a:ext>
              </a:extLst>
            </p:cNvPr>
            <p:cNvSpPr txBox="1"/>
            <p:nvPr/>
          </p:nvSpPr>
          <p:spPr>
            <a:xfrm>
              <a:off x="979761" y="332241"/>
              <a:ext cx="529023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b="1" dirty="0">
                  <a:solidFill>
                    <a:srgbClr val="F58A1F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PREMISSAS E RISCOS</a:t>
              </a:r>
            </a:p>
          </p:txBody>
        </p:sp>
        <p:sp>
          <p:nvSpPr>
            <p:cNvPr id="30" name="[Detalhe] Forma"/>
            <p:cNvSpPr/>
            <p:nvPr/>
          </p:nvSpPr>
          <p:spPr>
            <a:xfrm>
              <a:off x="4691051" y="970414"/>
              <a:ext cx="454790" cy="174171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1" name="[Texto]">
            <a:extLst>
              <a:ext uri="{FF2B5EF4-FFF2-40B4-BE49-F238E27FC236}">
                <a16:creationId xmlns:a16="http://schemas.microsoft.com/office/drawing/2014/main" id="{3392A19E-9937-4DD3-959D-297B8B176897}"/>
              </a:ext>
            </a:extLst>
          </p:cNvPr>
          <p:cNvSpPr txBox="1"/>
          <p:nvPr/>
        </p:nvSpPr>
        <p:spPr>
          <a:xfrm>
            <a:off x="712697" y="1691092"/>
            <a:ext cx="75484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Quais premissas foram assumidas para o desenvolvimento dos entregáveis?</a:t>
            </a:r>
            <a:b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sz="1600" dirty="0">
                <a:solidFill>
                  <a:srgbClr val="63646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talhar os riscos e ações de mitigação.</a:t>
            </a:r>
          </a:p>
        </p:txBody>
      </p:sp>
    </p:spTree>
    <p:extLst>
      <p:ext uri="{BB962C8B-B14F-4D97-AF65-F5344CB8AC3E}">
        <p14:creationId xmlns:p14="http://schemas.microsoft.com/office/powerpoint/2010/main" val="150864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[Título]">
            <a:extLst>
              <a:ext uri="{FF2B5EF4-FFF2-40B4-BE49-F238E27FC236}">
                <a16:creationId xmlns:a16="http://schemas.microsoft.com/office/drawing/2014/main" id="{66C5FBC1-53D4-4E92-A4B4-D588002EDDDA}"/>
              </a:ext>
            </a:extLst>
          </p:cNvPr>
          <p:cNvSpPr txBox="1"/>
          <p:nvPr/>
        </p:nvSpPr>
        <p:spPr>
          <a:xfrm>
            <a:off x="2125949" y="2686571"/>
            <a:ext cx="462658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48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BRIGADO(A)</a:t>
            </a:r>
          </a:p>
        </p:txBody>
      </p:sp>
      <p:sp>
        <p:nvSpPr>
          <p:cNvPr id="34" name="[Subtitulo]">
            <a:extLst>
              <a:ext uri="{FF2B5EF4-FFF2-40B4-BE49-F238E27FC236}">
                <a16:creationId xmlns:a16="http://schemas.microsoft.com/office/drawing/2014/main" id="{D054DC71-B17C-4C4D-B3CD-F9962120A217}"/>
              </a:ext>
            </a:extLst>
          </p:cNvPr>
          <p:cNvSpPr txBox="1"/>
          <p:nvPr/>
        </p:nvSpPr>
        <p:spPr>
          <a:xfrm flipH="1">
            <a:off x="7085547" y="4991852"/>
            <a:ext cx="18085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(00) 0000-000</a:t>
            </a:r>
          </a:p>
        </p:txBody>
      </p:sp>
      <p:sp>
        <p:nvSpPr>
          <p:cNvPr id="67" name="[Subtitulo]">
            <a:extLst>
              <a:ext uri="{FF2B5EF4-FFF2-40B4-BE49-F238E27FC236}">
                <a16:creationId xmlns:a16="http://schemas.microsoft.com/office/drawing/2014/main" id="{08A519F5-385E-4977-ACE2-87C9787AB0DC}"/>
              </a:ext>
            </a:extLst>
          </p:cNvPr>
          <p:cNvSpPr txBox="1"/>
          <p:nvPr/>
        </p:nvSpPr>
        <p:spPr>
          <a:xfrm flipH="1">
            <a:off x="7085547" y="5452921"/>
            <a:ext cx="22015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ome@email.com</a:t>
            </a:r>
          </a:p>
        </p:txBody>
      </p:sp>
      <p:grpSp>
        <p:nvGrpSpPr>
          <p:cNvPr id="5" name="Grupo 1723">
            <a:extLst>
              <a:ext uri="{FF2B5EF4-FFF2-40B4-BE49-F238E27FC236}">
                <a16:creationId xmlns:a16="http://schemas.microsoft.com/office/drawing/2014/main" id="{305C2615-3A97-46F4-9D81-D1026824EBF6}"/>
              </a:ext>
            </a:extLst>
          </p:cNvPr>
          <p:cNvGrpSpPr/>
          <p:nvPr/>
        </p:nvGrpSpPr>
        <p:grpSpPr>
          <a:xfrm>
            <a:off x="6589150" y="5029595"/>
            <a:ext cx="326000" cy="324624"/>
            <a:chOff x="1174751" y="4879976"/>
            <a:chExt cx="376238" cy="374650"/>
          </a:xfrm>
          <a:solidFill>
            <a:schemeClr val="bg1"/>
          </a:solidFill>
        </p:grpSpPr>
        <p:sp>
          <p:nvSpPr>
            <p:cNvPr id="6" name="Freeform 372">
              <a:extLst>
                <a:ext uri="{FF2B5EF4-FFF2-40B4-BE49-F238E27FC236}">
                  <a16:creationId xmlns:a16="http://schemas.microsoft.com/office/drawing/2014/main" id="{36D70426-66EF-4921-86A2-47B46B97B4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4751" y="4879976"/>
              <a:ext cx="376238" cy="374650"/>
            </a:xfrm>
            <a:custGeom>
              <a:avLst/>
              <a:gdLst>
                <a:gd name="T0" fmla="*/ 182 w 223"/>
                <a:gd name="T1" fmla="*/ 222 h 222"/>
                <a:gd name="T2" fmla="*/ 179 w 223"/>
                <a:gd name="T3" fmla="*/ 221 h 222"/>
                <a:gd name="T4" fmla="*/ 72 w 223"/>
                <a:gd name="T5" fmla="*/ 156 h 222"/>
                <a:gd name="T6" fmla="*/ 70 w 223"/>
                <a:gd name="T7" fmla="*/ 154 h 222"/>
                <a:gd name="T8" fmla="*/ 68 w 223"/>
                <a:gd name="T9" fmla="*/ 152 h 222"/>
                <a:gd name="T10" fmla="*/ 2 w 223"/>
                <a:gd name="T11" fmla="*/ 45 h 222"/>
                <a:gd name="T12" fmla="*/ 12 w 223"/>
                <a:gd name="T13" fmla="*/ 22 h 222"/>
                <a:gd name="T14" fmla="*/ 42 w 223"/>
                <a:gd name="T15" fmla="*/ 1 h 222"/>
                <a:gd name="T16" fmla="*/ 57 w 223"/>
                <a:gd name="T17" fmla="*/ 8 h 222"/>
                <a:gd name="T18" fmla="*/ 83 w 223"/>
                <a:gd name="T19" fmla="*/ 46 h 222"/>
                <a:gd name="T20" fmla="*/ 84 w 223"/>
                <a:gd name="T21" fmla="*/ 68 h 222"/>
                <a:gd name="T22" fmla="*/ 73 w 223"/>
                <a:gd name="T23" fmla="*/ 88 h 222"/>
                <a:gd name="T24" fmla="*/ 102 w 223"/>
                <a:gd name="T25" fmla="*/ 120 h 222"/>
                <a:gd name="T26" fmla="*/ 103 w 223"/>
                <a:gd name="T27" fmla="*/ 121 h 222"/>
                <a:gd name="T28" fmla="*/ 103 w 223"/>
                <a:gd name="T29" fmla="*/ 121 h 222"/>
                <a:gd name="T30" fmla="*/ 103 w 223"/>
                <a:gd name="T31" fmla="*/ 121 h 222"/>
                <a:gd name="T32" fmla="*/ 135 w 223"/>
                <a:gd name="T33" fmla="*/ 150 h 222"/>
                <a:gd name="T34" fmla="*/ 156 w 223"/>
                <a:gd name="T35" fmla="*/ 139 h 222"/>
                <a:gd name="T36" fmla="*/ 177 w 223"/>
                <a:gd name="T37" fmla="*/ 141 h 222"/>
                <a:gd name="T38" fmla="*/ 215 w 223"/>
                <a:gd name="T39" fmla="*/ 166 h 222"/>
                <a:gd name="T40" fmla="*/ 223 w 223"/>
                <a:gd name="T41" fmla="*/ 181 h 222"/>
                <a:gd name="T42" fmla="*/ 201 w 223"/>
                <a:gd name="T43" fmla="*/ 211 h 222"/>
                <a:gd name="T44" fmla="*/ 182 w 223"/>
                <a:gd name="T45" fmla="*/ 222 h 222"/>
                <a:gd name="T46" fmla="*/ 44 w 223"/>
                <a:gd name="T47" fmla="*/ 11 h 222"/>
                <a:gd name="T48" fmla="*/ 44 w 223"/>
                <a:gd name="T49" fmla="*/ 11 h 222"/>
                <a:gd name="T50" fmla="*/ 43 w 223"/>
                <a:gd name="T51" fmla="*/ 11 h 222"/>
                <a:gd name="T52" fmla="*/ 19 w 223"/>
                <a:gd name="T53" fmla="*/ 29 h 222"/>
                <a:gd name="T54" fmla="*/ 12 w 223"/>
                <a:gd name="T55" fmla="*/ 42 h 222"/>
                <a:gd name="T56" fmla="*/ 12 w 223"/>
                <a:gd name="T57" fmla="*/ 43 h 222"/>
                <a:gd name="T58" fmla="*/ 75 w 223"/>
                <a:gd name="T59" fmla="*/ 145 h 222"/>
                <a:gd name="T60" fmla="*/ 77 w 223"/>
                <a:gd name="T61" fmla="*/ 147 h 222"/>
                <a:gd name="T62" fmla="*/ 79 w 223"/>
                <a:gd name="T63" fmla="*/ 149 h 222"/>
                <a:gd name="T64" fmla="*/ 180 w 223"/>
                <a:gd name="T65" fmla="*/ 211 h 222"/>
                <a:gd name="T66" fmla="*/ 181 w 223"/>
                <a:gd name="T67" fmla="*/ 211 h 222"/>
                <a:gd name="T68" fmla="*/ 194 w 223"/>
                <a:gd name="T69" fmla="*/ 204 h 222"/>
                <a:gd name="T70" fmla="*/ 213 w 223"/>
                <a:gd name="T71" fmla="*/ 180 h 222"/>
                <a:gd name="T72" fmla="*/ 213 w 223"/>
                <a:gd name="T73" fmla="*/ 179 h 222"/>
                <a:gd name="T74" fmla="*/ 209 w 223"/>
                <a:gd name="T75" fmla="*/ 174 h 222"/>
                <a:gd name="T76" fmla="*/ 171 w 223"/>
                <a:gd name="T77" fmla="*/ 149 h 222"/>
                <a:gd name="T78" fmla="*/ 171 w 223"/>
                <a:gd name="T79" fmla="*/ 148 h 222"/>
                <a:gd name="T80" fmla="*/ 160 w 223"/>
                <a:gd name="T81" fmla="*/ 148 h 222"/>
                <a:gd name="T82" fmla="*/ 137 w 223"/>
                <a:gd name="T83" fmla="*/ 161 h 222"/>
                <a:gd name="T84" fmla="*/ 132 w 223"/>
                <a:gd name="T85" fmla="*/ 160 h 222"/>
                <a:gd name="T86" fmla="*/ 96 w 223"/>
                <a:gd name="T87" fmla="*/ 128 h 222"/>
                <a:gd name="T88" fmla="*/ 95 w 223"/>
                <a:gd name="T89" fmla="*/ 128 h 222"/>
                <a:gd name="T90" fmla="*/ 95 w 223"/>
                <a:gd name="T91" fmla="*/ 128 h 222"/>
                <a:gd name="T92" fmla="*/ 63 w 223"/>
                <a:gd name="T93" fmla="*/ 91 h 222"/>
                <a:gd name="T94" fmla="*/ 62 w 223"/>
                <a:gd name="T95" fmla="*/ 86 h 222"/>
                <a:gd name="T96" fmla="*/ 75 w 223"/>
                <a:gd name="T97" fmla="*/ 63 h 222"/>
                <a:gd name="T98" fmla="*/ 75 w 223"/>
                <a:gd name="T99" fmla="*/ 52 h 222"/>
                <a:gd name="T100" fmla="*/ 74 w 223"/>
                <a:gd name="T101" fmla="*/ 52 h 222"/>
                <a:gd name="T102" fmla="*/ 49 w 223"/>
                <a:gd name="T103" fmla="*/ 14 h 222"/>
                <a:gd name="T104" fmla="*/ 44 w 223"/>
                <a:gd name="T105" fmla="*/ 1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3" h="222">
                  <a:moveTo>
                    <a:pt x="182" y="222"/>
                  </a:moveTo>
                  <a:cubicBezTo>
                    <a:pt x="180" y="222"/>
                    <a:pt x="179" y="221"/>
                    <a:pt x="179" y="221"/>
                  </a:cubicBezTo>
                  <a:cubicBezTo>
                    <a:pt x="146" y="217"/>
                    <a:pt x="110" y="195"/>
                    <a:pt x="72" y="156"/>
                  </a:cubicBezTo>
                  <a:cubicBezTo>
                    <a:pt x="71" y="155"/>
                    <a:pt x="70" y="154"/>
                    <a:pt x="70" y="154"/>
                  </a:cubicBezTo>
                  <a:cubicBezTo>
                    <a:pt x="69" y="153"/>
                    <a:pt x="69" y="153"/>
                    <a:pt x="68" y="152"/>
                  </a:cubicBezTo>
                  <a:cubicBezTo>
                    <a:pt x="29" y="114"/>
                    <a:pt x="7" y="77"/>
                    <a:pt x="2" y="45"/>
                  </a:cubicBezTo>
                  <a:cubicBezTo>
                    <a:pt x="1" y="42"/>
                    <a:pt x="0" y="32"/>
                    <a:pt x="12" y="22"/>
                  </a:cubicBezTo>
                  <a:cubicBezTo>
                    <a:pt x="18" y="16"/>
                    <a:pt x="34" y="2"/>
                    <a:pt x="42" y="1"/>
                  </a:cubicBezTo>
                  <a:cubicBezTo>
                    <a:pt x="46" y="0"/>
                    <a:pt x="52" y="1"/>
                    <a:pt x="57" y="8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4" y="48"/>
                    <a:pt x="90" y="56"/>
                    <a:pt x="84" y="6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8" y="94"/>
                    <a:pt x="91" y="110"/>
                    <a:pt x="102" y="120"/>
                  </a:cubicBezTo>
                  <a:cubicBezTo>
                    <a:pt x="102" y="120"/>
                    <a:pt x="102" y="120"/>
                    <a:pt x="103" y="121"/>
                  </a:cubicBezTo>
                  <a:cubicBezTo>
                    <a:pt x="103" y="121"/>
                    <a:pt x="103" y="121"/>
                    <a:pt x="103" y="121"/>
                  </a:cubicBezTo>
                  <a:cubicBezTo>
                    <a:pt x="103" y="121"/>
                    <a:pt x="103" y="121"/>
                    <a:pt x="103" y="121"/>
                  </a:cubicBezTo>
                  <a:cubicBezTo>
                    <a:pt x="113" y="132"/>
                    <a:pt x="129" y="145"/>
                    <a:pt x="135" y="150"/>
                  </a:cubicBezTo>
                  <a:cubicBezTo>
                    <a:pt x="156" y="139"/>
                    <a:pt x="156" y="139"/>
                    <a:pt x="156" y="139"/>
                  </a:cubicBezTo>
                  <a:cubicBezTo>
                    <a:pt x="167" y="133"/>
                    <a:pt x="175" y="139"/>
                    <a:pt x="177" y="141"/>
                  </a:cubicBezTo>
                  <a:cubicBezTo>
                    <a:pt x="215" y="166"/>
                    <a:pt x="215" y="166"/>
                    <a:pt x="215" y="166"/>
                  </a:cubicBezTo>
                  <a:cubicBezTo>
                    <a:pt x="222" y="171"/>
                    <a:pt x="223" y="177"/>
                    <a:pt x="223" y="181"/>
                  </a:cubicBezTo>
                  <a:cubicBezTo>
                    <a:pt x="222" y="189"/>
                    <a:pt x="208" y="205"/>
                    <a:pt x="201" y="211"/>
                  </a:cubicBezTo>
                  <a:cubicBezTo>
                    <a:pt x="194" y="220"/>
                    <a:pt x="186" y="222"/>
                    <a:pt x="182" y="222"/>
                  </a:cubicBezTo>
                  <a:close/>
                  <a:moveTo>
                    <a:pt x="44" y="11"/>
                  </a:moveTo>
                  <a:cubicBezTo>
                    <a:pt x="44" y="11"/>
                    <a:pt x="44" y="11"/>
                    <a:pt x="44" y="11"/>
                  </a:cubicBezTo>
                  <a:cubicBezTo>
                    <a:pt x="44" y="11"/>
                    <a:pt x="44" y="11"/>
                    <a:pt x="43" y="11"/>
                  </a:cubicBezTo>
                  <a:cubicBezTo>
                    <a:pt x="40" y="11"/>
                    <a:pt x="29" y="20"/>
                    <a:pt x="19" y="29"/>
                  </a:cubicBezTo>
                  <a:cubicBezTo>
                    <a:pt x="11" y="36"/>
                    <a:pt x="12" y="42"/>
                    <a:pt x="12" y="42"/>
                  </a:cubicBezTo>
                  <a:cubicBezTo>
                    <a:pt x="12" y="42"/>
                    <a:pt x="12" y="43"/>
                    <a:pt x="12" y="43"/>
                  </a:cubicBezTo>
                  <a:cubicBezTo>
                    <a:pt x="16" y="73"/>
                    <a:pt x="39" y="109"/>
                    <a:pt x="75" y="145"/>
                  </a:cubicBezTo>
                  <a:cubicBezTo>
                    <a:pt x="76" y="146"/>
                    <a:pt x="76" y="146"/>
                    <a:pt x="77" y="147"/>
                  </a:cubicBezTo>
                  <a:cubicBezTo>
                    <a:pt x="77" y="147"/>
                    <a:pt x="78" y="148"/>
                    <a:pt x="79" y="149"/>
                  </a:cubicBezTo>
                  <a:cubicBezTo>
                    <a:pt x="116" y="186"/>
                    <a:pt x="150" y="207"/>
                    <a:pt x="180" y="211"/>
                  </a:cubicBezTo>
                  <a:cubicBezTo>
                    <a:pt x="181" y="211"/>
                    <a:pt x="181" y="211"/>
                    <a:pt x="181" y="211"/>
                  </a:cubicBezTo>
                  <a:cubicBezTo>
                    <a:pt x="181" y="211"/>
                    <a:pt x="187" y="213"/>
                    <a:pt x="194" y="204"/>
                  </a:cubicBezTo>
                  <a:cubicBezTo>
                    <a:pt x="204" y="194"/>
                    <a:pt x="212" y="183"/>
                    <a:pt x="213" y="180"/>
                  </a:cubicBezTo>
                  <a:cubicBezTo>
                    <a:pt x="213" y="180"/>
                    <a:pt x="213" y="179"/>
                    <a:pt x="213" y="179"/>
                  </a:cubicBezTo>
                  <a:cubicBezTo>
                    <a:pt x="213" y="179"/>
                    <a:pt x="213" y="177"/>
                    <a:pt x="209" y="174"/>
                  </a:cubicBezTo>
                  <a:cubicBezTo>
                    <a:pt x="171" y="149"/>
                    <a:pt x="171" y="149"/>
                    <a:pt x="171" y="149"/>
                  </a:cubicBezTo>
                  <a:cubicBezTo>
                    <a:pt x="171" y="149"/>
                    <a:pt x="171" y="149"/>
                    <a:pt x="171" y="148"/>
                  </a:cubicBezTo>
                  <a:cubicBezTo>
                    <a:pt x="170" y="148"/>
                    <a:pt x="166" y="145"/>
                    <a:pt x="160" y="148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6" y="162"/>
                    <a:pt x="133" y="162"/>
                    <a:pt x="132" y="160"/>
                  </a:cubicBezTo>
                  <a:cubicBezTo>
                    <a:pt x="131" y="160"/>
                    <a:pt x="108" y="142"/>
                    <a:pt x="96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81" y="115"/>
                    <a:pt x="64" y="92"/>
                    <a:pt x="63" y="91"/>
                  </a:cubicBezTo>
                  <a:cubicBezTo>
                    <a:pt x="62" y="90"/>
                    <a:pt x="61" y="88"/>
                    <a:pt x="62" y="86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8" y="57"/>
                    <a:pt x="75" y="52"/>
                    <a:pt x="75" y="52"/>
                  </a:cubicBezTo>
                  <a:cubicBezTo>
                    <a:pt x="75" y="52"/>
                    <a:pt x="75" y="52"/>
                    <a:pt x="74" y="52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7" y="11"/>
                    <a:pt x="45" y="11"/>
                    <a:pt x="4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" name="Freeform 373">
              <a:extLst>
                <a:ext uri="{FF2B5EF4-FFF2-40B4-BE49-F238E27FC236}">
                  <a16:creationId xmlns:a16="http://schemas.microsoft.com/office/drawing/2014/main" id="{1D14143B-74EA-4670-A486-638512495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713" y="4948238"/>
              <a:ext cx="93663" cy="95250"/>
            </a:xfrm>
            <a:custGeom>
              <a:avLst/>
              <a:gdLst>
                <a:gd name="T0" fmla="*/ 51 w 56"/>
                <a:gd name="T1" fmla="*/ 56 h 56"/>
                <a:gd name="T2" fmla="*/ 46 w 56"/>
                <a:gd name="T3" fmla="*/ 52 h 56"/>
                <a:gd name="T4" fmla="*/ 32 w 56"/>
                <a:gd name="T5" fmla="*/ 24 h 56"/>
                <a:gd name="T6" fmla="*/ 5 w 56"/>
                <a:gd name="T7" fmla="*/ 11 h 56"/>
                <a:gd name="T8" fmla="*/ 0 w 56"/>
                <a:gd name="T9" fmla="*/ 6 h 56"/>
                <a:gd name="T10" fmla="*/ 0 w 56"/>
                <a:gd name="T11" fmla="*/ 6 h 56"/>
                <a:gd name="T12" fmla="*/ 6 w 56"/>
                <a:gd name="T13" fmla="*/ 1 h 56"/>
                <a:gd name="T14" fmla="*/ 39 w 56"/>
                <a:gd name="T15" fmla="*/ 17 h 56"/>
                <a:gd name="T16" fmla="*/ 56 w 56"/>
                <a:gd name="T17" fmla="*/ 50 h 56"/>
                <a:gd name="T18" fmla="*/ 51 w 56"/>
                <a:gd name="T1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51" y="56"/>
                  </a:moveTo>
                  <a:cubicBezTo>
                    <a:pt x="48" y="56"/>
                    <a:pt x="46" y="54"/>
                    <a:pt x="46" y="52"/>
                  </a:cubicBezTo>
                  <a:cubicBezTo>
                    <a:pt x="44" y="41"/>
                    <a:pt x="40" y="32"/>
                    <a:pt x="32" y="24"/>
                  </a:cubicBezTo>
                  <a:cubicBezTo>
                    <a:pt x="25" y="17"/>
                    <a:pt x="15" y="12"/>
                    <a:pt x="5" y="11"/>
                  </a:cubicBezTo>
                  <a:cubicBezTo>
                    <a:pt x="2" y="10"/>
                    <a:pt x="0" y="8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1"/>
                  </a:cubicBezTo>
                  <a:cubicBezTo>
                    <a:pt x="18" y="2"/>
                    <a:pt x="30" y="8"/>
                    <a:pt x="39" y="17"/>
                  </a:cubicBezTo>
                  <a:cubicBezTo>
                    <a:pt x="48" y="26"/>
                    <a:pt x="54" y="38"/>
                    <a:pt x="56" y="50"/>
                  </a:cubicBezTo>
                  <a:cubicBezTo>
                    <a:pt x="56" y="53"/>
                    <a:pt x="54" y="56"/>
                    <a:pt x="5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8" name="Freeform 374">
              <a:extLst>
                <a:ext uri="{FF2B5EF4-FFF2-40B4-BE49-F238E27FC236}">
                  <a16:creationId xmlns:a16="http://schemas.microsoft.com/office/drawing/2014/main" id="{C697465F-DA23-4E10-B561-D7EA25033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4301" y="4899026"/>
              <a:ext cx="141288" cy="139700"/>
            </a:xfrm>
            <a:custGeom>
              <a:avLst/>
              <a:gdLst>
                <a:gd name="T0" fmla="*/ 79 w 84"/>
                <a:gd name="T1" fmla="*/ 83 h 83"/>
                <a:gd name="T2" fmla="*/ 74 w 84"/>
                <a:gd name="T3" fmla="*/ 79 h 83"/>
                <a:gd name="T4" fmla="*/ 51 w 84"/>
                <a:gd name="T5" fmla="*/ 32 h 83"/>
                <a:gd name="T6" fmla="*/ 5 w 84"/>
                <a:gd name="T7" fmla="*/ 11 h 83"/>
                <a:gd name="T8" fmla="*/ 0 w 84"/>
                <a:gd name="T9" fmla="*/ 6 h 83"/>
                <a:gd name="T10" fmla="*/ 0 w 84"/>
                <a:gd name="T11" fmla="*/ 6 h 83"/>
                <a:gd name="T12" fmla="*/ 6 w 84"/>
                <a:gd name="T13" fmla="*/ 1 h 83"/>
                <a:gd name="T14" fmla="*/ 59 w 84"/>
                <a:gd name="T15" fmla="*/ 25 h 83"/>
                <a:gd name="T16" fmla="*/ 84 w 84"/>
                <a:gd name="T17" fmla="*/ 78 h 83"/>
                <a:gd name="T18" fmla="*/ 79 w 84"/>
                <a:gd name="T1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3">
                  <a:moveTo>
                    <a:pt x="79" y="83"/>
                  </a:moveTo>
                  <a:cubicBezTo>
                    <a:pt x="76" y="83"/>
                    <a:pt x="74" y="81"/>
                    <a:pt x="74" y="79"/>
                  </a:cubicBezTo>
                  <a:cubicBezTo>
                    <a:pt x="72" y="61"/>
                    <a:pt x="64" y="45"/>
                    <a:pt x="51" y="32"/>
                  </a:cubicBezTo>
                  <a:cubicBezTo>
                    <a:pt x="39" y="20"/>
                    <a:pt x="22" y="12"/>
                    <a:pt x="5" y="11"/>
                  </a:cubicBezTo>
                  <a:cubicBezTo>
                    <a:pt x="2" y="10"/>
                    <a:pt x="0" y="8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1"/>
                  </a:cubicBezTo>
                  <a:cubicBezTo>
                    <a:pt x="26" y="3"/>
                    <a:pt x="44" y="11"/>
                    <a:pt x="59" y="25"/>
                  </a:cubicBezTo>
                  <a:cubicBezTo>
                    <a:pt x="73" y="39"/>
                    <a:pt x="82" y="58"/>
                    <a:pt x="84" y="78"/>
                  </a:cubicBezTo>
                  <a:cubicBezTo>
                    <a:pt x="84" y="81"/>
                    <a:pt x="82" y="83"/>
                    <a:pt x="79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9" name="Grupo 1725">
            <a:extLst>
              <a:ext uri="{FF2B5EF4-FFF2-40B4-BE49-F238E27FC236}">
                <a16:creationId xmlns:a16="http://schemas.microsoft.com/office/drawing/2014/main" id="{368C0850-BCBA-467C-8001-7D9CDA6CAFFD}"/>
              </a:ext>
            </a:extLst>
          </p:cNvPr>
          <p:cNvGrpSpPr/>
          <p:nvPr/>
        </p:nvGrpSpPr>
        <p:grpSpPr>
          <a:xfrm>
            <a:off x="6473143" y="5531242"/>
            <a:ext cx="471806" cy="243469"/>
            <a:chOff x="1960563" y="2690813"/>
            <a:chExt cx="544513" cy="280988"/>
          </a:xfrm>
          <a:solidFill>
            <a:schemeClr val="bg1"/>
          </a:solidFill>
        </p:grpSpPr>
        <p:sp>
          <p:nvSpPr>
            <p:cNvPr id="10" name="Freeform 317">
              <a:extLst>
                <a:ext uri="{FF2B5EF4-FFF2-40B4-BE49-F238E27FC236}">
                  <a16:creationId xmlns:a16="http://schemas.microsoft.com/office/drawing/2014/main" id="{50E93EB6-BC5F-489D-BA1F-3B3CE3E11D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1851" y="2690813"/>
              <a:ext cx="403225" cy="280988"/>
            </a:xfrm>
            <a:custGeom>
              <a:avLst/>
              <a:gdLst>
                <a:gd name="T0" fmla="*/ 201 w 239"/>
                <a:gd name="T1" fmla="*/ 167 h 167"/>
                <a:gd name="T2" fmla="*/ 5 w 239"/>
                <a:gd name="T3" fmla="*/ 167 h 167"/>
                <a:gd name="T4" fmla="*/ 0 w 239"/>
                <a:gd name="T5" fmla="*/ 162 h 167"/>
                <a:gd name="T6" fmla="*/ 5 w 239"/>
                <a:gd name="T7" fmla="*/ 157 h 167"/>
                <a:gd name="T8" fmla="*/ 201 w 239"/>
                <a:gd name="T9" fmla="*/ 157 h 167"/>
                <a:gd name="T10" fmla="*/ 209 w 239"/>
                <a:gd name="T11" fmla="*/ 149 h 167"/>
                <a:gd name="T12" fmla="*/ 228 w 239"/>
                <a:gd name="T13" fmla="*/ 16 h 167"/>
                <a:gd name="T14" fmla="*/ 228 w 239"/>
                <a:gd name="T15" fmla="*/ 14 h 167"/>
                <a:gd name="T16" fmla="*/ 119 w 239"/>
                <a:gd name="T17" fmla="*/ 93 h 167"/>
                <a:gd name="T18" fmla="*/ 113 w 239"/>
                <a:gd name="T19" fmla="*/ 93 h 167"/>
                <a:gd name="T20" fmla="*/ 21 w 239"/>
                <a:gd name="T21" fmla="*/ 8 h 167"/>
                <a:gd name="T22" fmla="*/ 20 w 239"/>
                <a:gd name="T23" fmla="*/ 3 h 167"/>
                <a:gd name="T24" fmla="*/ 24 w 239"/>
                <a:gd name="T25" fmla="*/ 0 h 167"/>
                <a:gd name="T26" fmla="*/ 223 w 239"/>
                <a:gd name="T27" fmla="*/ 0 h 167"/>
                <a:gd name="T28" fmla="*/ 235 w 239"/>
                <a:gd name="T29" fmla="*/ 5 h 167"/>
                <a:gd name="T30" fmla="*/ 238 w 239"/>
                <a:gd name="T31" fmla="*/ 17 h 167"/>
                <a:gd name="T32" fmla="*/ 219 w 239"/>
                <a:gd name="T33" fmla="*/ 150 h 167"/>
                <a:gd name="T34" fmla="*/ 201 w 239"/>
                <a:gd name="T35" fmla="*/ 167 h 167"/>
                <a:gd name="T36" fmla="*/ 37 w 239"/>
                <a:gd name="T37" fmla="*/ 10 h 167"/>
                <a:gd name="T38" fmla="*/ 117 w 239"/>
                <a:gd name="T39" fmla="*/ 83 h 167"/>
                <a:gd name="T40" fmla="*/ 218 w 239"/>
                <a:gd name="T41" fmla="*/ 10 h 167"/>
                <a:gd name="T42" fmla="*/ 37 w 239"/>
                <a:gd name="T43" fmla="*/ 1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167">
                  <a:moveTo>
                    <a:pt x="201" y="167"/>
                  </a:moveTo>
                  <a:cubicBezTo>
                    <a:pt x="5" y="167"/>
                    <a:pt x="5" y="167"/>
                    <a:pt x="5" y="167"/>
                  </a:cubicBezTo>
                  <a:cubicBezTo>
                    <a:pt x="2" y="167"/>
                    <a:pt x="0" y="164"/>
                    <a:pt x="0" y="162"/>
                  </a:cubicBezTo>
                  <a:cubicBezTo>
                    <a:pt x="0" y="159"/>
                    <a:pt x="2" y="157"/>
                    <a:pt x="5" y="157"/>
                  </a:cubicBezTo>
                  <a:cubicBezTo>
                    <a:pt x="201" y="157"/>
                    <a:pt x="201" y="157"/>
                    <a:pt x="201" y="157"/>
                  </a:cubicBezTo>
                  <a:cubicBezTo>
                    <a:pt x="205" y="157"/>
                    <a:pt x="209" y="153"/>
                    <a:pt x="209" y="149"/>
                  </a:cubicBezTo>
                  <a:cubicBezTo>
                    <a:pt x="228" y="16"/>
                    <a:pt x="228" y="16"/>
                    <a:pt x="228" y="16"/>
                  </a:cubicBezTo>
                  <a:cubicBezTo>
                    <a:pt x="228" y="15"/>
                    <a:pt x="228" y="15"/>
                    <a:pt x="228" y="14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95"/>
                    <a:pt x="114" y="94"/>
                    <a:pt x="113" y="93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9" y="7"/>
                    <a:pt x="19" y="5"/>
                    <a:pt x="20" y="3"/>
                  </a:cubicBezTo>
                  <a:cubicBezTo>
                    <a:pt x="20" y="1"/>
                    <a:pt x="22" y="0"/>
                    <a:pt x="24" y="0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227" y="0"/>
                    <a:pt x="232" y="1"/>
                    <a:pt x="235" y="5"/>
                  </a:cubicBezTo>
                  <a:cubicBezTo>
                    <a:pt x="237" y="8"/>
                    <a:pt x="239" y="13"/>
                    <a:pt x="238" y="17"/>
                  </a:cubicBezTo>
                  <a:cubicBezTo>
                    <a:pt x="219" y="150"/>
                    <a:pt x="219" y="150"/>
                    <a:pt x="219" y="150"/>
                  </a:cubicBezTo>
                  <a:cubicBezTo>
                    <a:pt x="218" y="159"/>
                    <a:pt x="210" y="167"/>
                    <a:pt x="201" y="167"/>
                  </a:cubicBezTo>
                  <a:close/>
                  <a:moveTo>
                    <a:pt x="37" y="10"/>
                  </a:moveTo>
                  <a:cubicBezTo>
                    <a:pt x="117" y="83"/>
                    <a:pt x="117" y="83"/>
                    <a:pt x="117" y="83"/>
                  </a:cubicBezTo>
                  <a:cubicBezTo>
                    <a:pt x="218" y="10"/>
                    <a:pt x="218" y="10"/>
                    <a:pt x="218" y="10"/>
                  </a:cubicBezTo>
                  <a:lnTo>
                    <a:pt x="37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1" name="Freeform 318">
              <a:extLst>
                <a:ext uri="{FF2B5EF4-FFF2-40B4-BE49-F238E27FC236}">
                  <a16:creationId xmlns:a16="http://schemas.microsoft.com/office/drawing/2014/main" id="{A2F5ECA6-470C-404C-9BA9-3EA0AA50B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2884488"/>
              <a:ext cx="179388" cy="15875"/>
            </a:xfrm>
            <a:custGeom>
              <a:avLst/>
              <a:gdLst>
                <a:gd name="T0" fmla="*/ 101 w 106"/>
                <a:gd name="T1" fmla="*/ 10 h 10"/>
                <a:gd name="T2" fmla="*/ 5 w 106"/>
                <a:gd name="T3" fmla="*/ 10 h 10"/>
                <a:gd name="T4" fmla="*/ 0 w 106"/>
                <a:gd name="T5" fmla="*/ 5 h 10"/>
                <a:gd name="T6" fmla="*/ 5 w 106"/>
                <a:gd name="T7" fmla="*/ 0 h 10"/>
                <a:gd name="T8" fmla="*/ 101 w 106"/>
                <a:gd name="T9" fmla="*/ 0 h 10"/>
                <a:gd name="T10" fmla="*/ 106 w 106"/>
                <a:gd name="T11" fmla="*/ 5 h 10"/>
                <a:gd name="T12" fmla="*/ 101 w 10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0">
                  <a:moveTo>
                    <a:pt x="10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4" y="0"/>
                    <a:pt x="106" y="2"/>
                    <a:pt x="106" y="5"/>
                  </a:cubicBezTo>
                  <a:cubicBezTo>
                    <a:pt x="106" y="8"/>
                    <a:pt x="104" y="10"/>
                    <a:pt x="10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2" name="Freeform 319">
              <a:extLst>
                <a:ext uri="{FF2B5EF4-FFF2-40B4-BE49-F238E27FC236}">
                  <a16:creationId xmlns:a16="http://schemas.microsoft.com/office/drawing/2014/main" id="{23C0517F-DF23-4515-87C6-9EC68E0EB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2825751"/>
              <a:ext cx="225425" cy="15875"/>
            </a:xfrm>
            <a:custGeom>
              <a:avLst/>
              <a:gdLst>
                <a:gd name="T0" fmla="*/ 129 w 134"/>
                <a:gd name="T1" fmla="*/ 10 h 10"/>
                <a:gd name="T2" fmla="*/ 5 w 134"/>
                <a:gd name="T3" fmla="*/ 10 h 10"/>
                <a:gd name="T4" fmla="*/ 0 w 134"/>
                <a:gd name="T5" fmla="*/ 5 h 10"/>
                <a:gd name="T6" fmla="*/ 5 w 134"/>
                <a:gd name="T7" fmla="*/ 0 h 10"/>
                <a:gd name="T8" fmla="*/ 129 w 134"/>
                <a:gd name="T9" fmla="*/ 0 h 10"/>
                <a:gd name="T10" fmla="*/ 134 w 134"/>
                <a:gd name="T11" fmla="*/ 5 h 10"/>
                <a:gd name="T12" fmla="*/ 129 w 1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0">
                  <a:moveTo>
                    <a:pt x="129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2" y="0"/>
                    <a:pt x="134" y="2"/>
                    <a:pt x="134" y="5"/>
                  </a:cubicBezTo>
                  <a:cubicBezTo>
                    <a:pt x="134" y="8"/>
                    <a:pt x="132" y="10"/>
                    <a:pt x="12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13" name="Freeform 320">
              <a:extLst>
                <a:ext uri="{FF2B5EF4-FFF2-40B4-BE49-F238E27FC236}">
                  <a16:creationId xmlns:a16="http://schemas.microsoft.com/office/drawing/2014/main" id="{9BEC14DD-472E-46DF-B6ED-279BC82B2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2476" y="2763838"/>
              <a:ext cx="111125" cy="17463"/>
            </a:xfrm>
            <a:custGeom>
              <a:avLst/>
              <a:gdLst>
                <a:gd name="T0" fmla="*/ 61 w 66"/>
                <a:gd name="T1" fmla="*/ 10 h 10"/>
                <a:gd name="T2" fmla="*/ 5 w 66"/>
                <a:gd name="T3" fmla="*/ 10 h 10"/>
                <a:gd name="T4" fmla="*/ 0 w 66"/>
                <a:gd name="T5" fmla="*/ 5 h 10"/>
                <a:gd name="T6" fmla="*/ 5 w 66"/>
                <a:gd name="T7" fmla="*/ 0 h 10"/>
                <a:gd name="T8" fmla="*/ 61 w 66"/>
                <a:gd name="T9" fmla="*/ 0 h 10"/>
                <a:gd name="T10" fmla="*/ 66 w 66"/>
                <a:gd name="T11" fmla="*/ 5 h 10"/>
                <a:gd name="T12" fmla="*/ 61 w 6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0">
                  <a:moveTo>
                    <a:pt x="61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4" y="0"/>
                    <a:pt x="66" y="3"/>
                    <a:pt x="66" y="5"/>
                  </a:cubicBezTo>
                  <a:cubicBezTo>
                    <a:pt x="66" y="8"/>
                    <a:pt x="64" y="10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38" name="Grupo 1732">
            <a:extLst>
              <a:ext uri="{FF2B5EF4-FFF2-40B4-BE49-F238E27FC236}">
                <a16:creationId xmlns:a16="http://schemas.microsoft.com/office/drawing/2014/main" id="{D5AE90E9-7B91-414E-9592-68087C97B666}"/>
              </a:ext>
            </a:extLst>
          </p:cNvPr>
          <p:cNvGrpSpPr/>
          <p:nvPr/>
        </p:nvGrpSpPr>
        <p:grpSpPr>
          <a:xfrm>
            <a:off x="3997326" y="3943351"/>
            <a:ext cx="415925" cy="458787"/>
            <a:chOff x="2911476" y="4070351"/>
            <a:chExt cx="415925" cy="458787"/>
          </a:xfrm>
          <a:solidFill>
            <a:schemeClr val="bg1"/>
          </a:solidFill>
        </p:grpSpPr>
        <p:sp>
          <p:nvSpPr>
            <p:cNvPr id="39" name="Freeform 297">
              <a:extLst>
                <a:ext uri="{FF2B5EF4-FFF2-40B4-BE49-F238E27FC236}">
                  <a16:creationId xmlns:a16="http://schemas.microsoft.com/office/drawing/2014/main" id="{179211F2-E027-4458-A834-010A545284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9263" y="4367213"/>
              <a:ext cx="212725" cy="161925"/>
            </a:xfrm>
            <a:custGeom>
              <a:avLst/>
              <a:gdLst>
                <a:gd name="T0" fmla="*/ 101 w 126"/>
                <a:gd name="T1" fmla="*/ 96 h 96"/>
                <a:gd name="T2" fmla="*/ 25 w 126"/>
                <a:gd name="T3" fmla="*/ 96 h 96"/>
                <a:gd name="T4" fmla="*/ 20 w 126"/>
                <a:gd name="T5" fmla="*/ 91 h 96"/>
                <a:gd name="T6" fmla="*/ 14 w 126"/>
                <a:gd name="T7" fmla="*/ 34 h 96"/>
                <a:gd name="T8" fmla="*/ 5 w 126"/>
                <a:gd name="T9" fmla="*/ 34 h 96"/>
                <a:gd name="T10" fmla="*/ 0 w 126"/>
                <a:gd name="T11" fmla="*/ 29 h 96"/>
                <a:gd name="T12" fmla="*/ 0 w 126"/>
                <a:gd name="T13" fmla="*/ 5 h 96"/>
                <a:gd name="T14" fmla="*/ 5 w 126"/>
                <a:gd name="T15" fmla="*/ 0 h 96"/>
                <a:gd name="T16" fmla="*/ 121 w 126"/>
                <a:gd name="T17" fmla="*/ 0 h 96"/>
                <a:gd name="T18" fmla="*/ 126 w 126"/>
                <a:gd name="T19" fmla="*/ 5 h 96"/>
                <a:gd name="T20" fmla="*/ 126 w 126"/>
                <a:gd name="T21" fmla="*/ 29 h 96"/>
                <a:gd name="T22" fmla="*/ 121 w 126"/>
                <a:gd name="T23" fmla="*/ 34 h 96"/>
                <a:gd name="T24" fmla="*/ 112 w 126"/>
                <a:gd name="T25" fmla="*/ 34 h 96"/>
                <a:gd name="T26" fmla="*/ 106 w 126"/>
                <a:gd name="T27" fmla="*/ 91 h 96"/>
                <a:gd name="T28" fmla="*/ 101 w 126"/>
                <a:gd name="T29" fmla="*/ 96 h 96"/>
                <a:gd name="T30" fmla="*/ 30 w 126"/>
                <a:gd name="T31" fmla="*/ 86 h 96"/>
                <a:gd name="T32" fmla="*/ 96 w 126"/>
                <a:gd name="T33" fmla="*/ 86 h 96"/>
                <a:gd name="T34" fmla="*/ 102 w 126"/>
                <a:gd name="T35" fmla="*/ 34 h 96"/>
                <a:gd name="T36" fmla="*/ 53 w 126"/>
                <a:gd name="T37" fmla="*/ 34 h 96"/>
                <a:gd name="T38" fmla="*/ 48 w 126"/>
                <a:gd name="T39" fmla="*/ 29 h 96"/>
                <a:gd name="T40" fmla="*/ 53 w 126"/>
                <a:gd name="T41" fmla="*/ 24 h 96"/>
                <a:gd name="T42" fmla="*/ 116 w 126"/>
                <a:gd name="T43" fmla="*/ 24 h 96"/>
                <a:gd name="T44" fmla="*/ 116 w 126"/>
                <a:gd name="T45" fmla="*/ 10 h 96"/>
                <a:gd name="T46" fmla="*/ 10 w 126"/>
                <a:gd name="T47" fmla="*/ 10 h 96"/>
                <a:gd name="T48" fmla="*/ 10 w 126"/>
                <a:gd name="T49" fmla="*/ 24 h 96"/>
                <a:gd name="T50" fmla="*/ 19 w 126"/>
                <a:gd name="T51" fmla="*/ 24 h 96"/>
                <a:gd name="T52" fmla="*/ 24 w 126"/>
                <a:gd name="T53" fmla="*/ 29 h 96"/>
                <a:gd name="T54" fmla="*/ 30 w 126"/>
                <a:gd name="T55" fmla="*/ 8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96">
                  <a:moveTo>
                    <a:pt x="101" y="96"/>
                  </a:moveTo>
                  <a:cubicBezTo>
                    <a:pt x="25" y="96"/>
                    <a:pt x="25" y="96"/>
                    <a:pt x="25" y="96"/>
                  </a:cubicBezTo>
                  <a:cubicBezTo>
                    <a:pt x="23" y="96"/>
                    <a:pt x="21" y="94"/>
                    <a:pt x="20" y="91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2"/>
                    <a:pt x="0" y="2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4" y="0"/>
                    <a:pt x="126" y="2"/>
                    <a:pt x="126" y="5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32"/>
                    <a:pt x="124" y="34"/>
                    <a:pt x="121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94"/>
                    <a:pt x="103" y="96"/>
                    <a:pt x="101" y="96"/>
                  </a:cubicBezTo>
                  <a:close/>
                  <a:moveTo>
                    <a:pt x="30" y="86"/>
                  </a:moveTo>
                  <a:cubicBezTo>
                    <a:pt x="96" y="86"/>
                    <a:pt x="96" y="86"/>
                    <a:pt x="96" y="86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0" y="34"/>
                    <a:pt x="48" y="32"/>
                    <a:pt x="48" y="29"/>
                  </a:cubicBezTo>
                  <a:cubicBezTo>
                    <a:pt x="48" y="26"/>
                    <a:pt x="50" y="24"/>
                    <a:pt x="53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1" y="24"/>
                    <a:pt x="23" y="26"/>
                    <a:pt x="24" y="29"/>
                  </a:cubicBezTo>
                  <a:lnTo>
                    <a:pt x="30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0" name="Freeform 298">
              <a:extLst>
                <a:ext uri="{FF2B5EF4-FFF2-40B4-BE49-F238E27FC236}">
                  <a16:creationId xmlns:a16="http://schemas.microsoft.com/office/drawing/2014/main" id="{32086550-4EF3-4167-9EFA-6CFA5BD35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1" y="4192588"/>
              <a:ext cx="49213" cy="152400"/>
            </a:xfrm>
            <a:custGeom>
              <a:avLst/>
              <a:gdLst>
                <a:gd name="T0" fmla="*/ 19 w 29"/>
                <a:gd name="T1" fmla="*/ 86 h 91"/>
                <a:gd name="T2" fmla="*/ 0 w 29"/>
                <a:gd name="T3" fmla="*/ 4 h 91"/>
                <a:gd name="T4" fmla="*/ 9 w 29"/>
                <a:gd name="T5" fmla="*/ 0 h 91"/>
                <a:gd name="T6" fmla="*/ 29 w 29"/>
                <a:gd name="T7" fmla="*/ 86 h 91"/>
                <a:gd name="T8" fmla="*/ 24 w 29"/>
                <a:gd name="T9" fmla="*/ 91 h 91"/>
                <a:gd name="T10" fmla="*/ 24 w 29"/>
                <a:gd name="T11" fmla="*/ 91 h 91"/>
                <a:gd name="T12" fmla="*/ 19 w 29"/>
                <a:gd name="T13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1">
                  <a:moveTo>
                    <a:pt x="19" y="86"/>
                  </a:moveTo>
                  <a:cubicBezTo>
                    <a:pt x="16" y="42"/>
                    <a:pt x="6" y="16"/>
                    <a:pt x="0" y="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5" y="12"/>
                    <a:pt x="26" y="39"/>
                    <a:pt x="29" y="86"/>
                  </a:cubicBezTo>
                  <a:cubicBezTo>
                    <a:pt x="29" y="88"/>
                    <a:pt x="27" y="91"/>
                    <a:pt x="24" y="91"/>
                  </a:cubicBezTo>
                  <a:cubicBezTo>
                    <a:pt x="24" y="91"/>
                    <a:pt x="24" y="91"/>
                    <a:pt x="24" y="91"/>
                  </a:cubicBezTo>
                  <a:cubicBezTo>
                    <a:pt x="21" y="91"/>
                    <a:pt x="19" y="89"/>
                    <a:pt x="19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1" name="Freeform 299">
              <a:extLst>
                <a:ext uri="{FF2B5EF4-FFF2-40B4-BE49-F238E27FC236}">
                  <a16:creationId xmlns:a16="http://schemas.microsoft.com/office/drawing/2014/main" id="{DEFD18C1-3030-48D6-B0B8-14BCF8913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426" y="4237038"/>
              <a:ext cx="68263" cy="36513"/>
            </a:xfrm>
            <a:custGeom>
              <a:avLst/>
              <a:gdLst>
                <a:gd name="T0" fmla="*/ 35 w 41"/>
                <a:gd name="T1" fmla="*/ 21 h 21"/>
                <a:gd name="T2" fmla="*/ 31 w 41"/>
                <a:gd name="T3" fmla="*/ 18 h 21"/>
                <a:gd name="T4" fmla="*/ 5 w 41"/>
                <a:gd name="T5" fmla="*/ 10 h 21"/>
                <a:gd name="T6" fmla="*/ 0 w 41"/>
                <a:gd name="T7" fmla="*/ 5 h 21"/>
                <a:gd name="T8" fmla="*/ 5 w 41"/>
                <a:gd name="T9" fmla="*/ 0 h 21"/>
                <a:gd name="T10" fmla="*/ 39 w 41"/>
                <a:gd name="T11" fmla="*/ 14 h 21"/>
                <a:gd name="T12" fmla="*/ 37 w 41"/>
                <a:gd name="T13" fmla="*/ 21 h 21"/>
                <a:gd name="T14" fmla="*/ 35 w 41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1">
                  <a:moveTo>
                    <a:pt x="35" y="21"/>
                  </a:moveTo>
                  <a:cubicBezTo>
                    <a:pt x="33" y="21"/>
                    <a:pt x="31" y="20"/>
                    <a:pt x="31" y="18"/>
                  </a:cubicBezTo>
                  <a:cubicBezTo>
                    <a:pt x="27" y="12"/>
                    <a:pt x="12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33" y="0"/>
                    <a:pt x="39" y="14"/>
                  </a:cubicBezTo>
                  <a:cubicBezTo>
                    <a:pt x="41" y="16"/>
                    <a:pt x="40" y="19"/>
                    <a:pt x="37" y="21"/>
                  </a:cubicBezTo>
                  <a:cubicBezTo>
                    <a:pt x="37" y="21"/>
                    <a:pt x="36" y="21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2" name="Freeform 300">
              <a:extLst>
                <a:ext uri="{FF2B5EF4-FFF2-40B4-BE49-F238E27FC236}">
                  <a16:creationId xmlns:a16="http://schemas.microsoft.com/office/drawing/2014/main" id="{58FE5E0F-44F2-4F99-B345-77BD85FA2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1801" y="4070351"/>
              <a:ext cx="106363" cy="136525"/>
            </a:xfrm>
            <a:custGeom>
              <a:avLst/>
              <a:gdLst>
                <a:gd name="T0" fmla="*/ 43 w 63"/>
                <a:gd name="T1" fmla="*/ 81 h 81"/>
                <a:gd name="T2" fmla="*/ 33 w 63"/>
                <a:gd name="T3" fmla="*/ 79 h 81"/>
                <a:gd name="T4" fmla="*/ 7 w 63"/>
                <a:gd name="T5" fmla="*/ 49 h 81"/>
                <a:gd name="T6" fmla="*/ 6 w 63"/>
                <a:gd name="T7" fmla="*/ 4 h 81"/>
                <a:gd name="T8" fmla="*/ 8 w 63"/>
                <a:gd name="T9" fmla="*/ 0 h 81"/>
                <a:gd name="T10" fmla="*/ 12 w 63"/>
                <a:gd name="T11" fmla="*/ 1 h 81"/>
                <a:gd name="T12" fmla="*/ 49 w 63"/>
                <a:gd name="T13" fmla="*/ 25 h 81"/>
                <a:gd name="T14" fmla="*/ 61 w 63"/>
                <a:gd name="T15" fmla="*/ 63 h 81"/>
                <a:gd name="T16" fmla="*/ 52 w 63"/>
                <a:gd name="T17" fmla="*/ 78 h 81"/>
                <a:gd name="T18" fmla="*/ 52 w 63"/>
                <a:gd name="T19" fmla="*/ 78 h 81"/>
                <a:gd name="T20" fmla="*/ 43 w 63"/>
                <a:gd name="T21" fmla="*/ 81 h 81"/>
                <a:gd name="T22" fmla="*/ 14 w 63"/>
                <a:gd name="T23" fmla="*/ 12 h 81"/>
                <a:gd name="T24" fmla="*/ 17 w 63"/>
                <a:gd name="T25" fmla="*/ 46 h 81"/>
                <a:gd name="T26" fmla="*/ 37 w 63"/>
                <a:gd name="T27" fmla="*/ 69 h 81"/>
                <a:gd name="T28" fmla="*/ 47 w 63"/>
                <a:gd name="T29" fmla="*/ 70 h 81"/>
                <a:gd name="T30" fmla="*/ 47 w 63"/>
                <a:gd name="T31" fmla="*/ 70 h 81"/>
                <a:gd name="T32" fmla="*/ 51 w 63"/>
                <a:gd name="T33" fmla="*/ 61 h 81"/>
                <a:gd name="T34" fmla="*/ 42 w 63"/>
                <a:gd name="T35" fmla="*/ 32 h 81"/>
                <a:gd name="T36" fmla="*/ 14 w 63"/>
                <a:gd name="T37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81">
                  <a:moveTo>
                    <a:pt x="43" y="81"/>
                  </a:moveTo>
                  <a:cubicBezTo>
                    <a:pt x="40" y="81"/>
                    <a:pt x="37" y="80"/>
                    <a:pt x="33" y="79"/>
                  </a:cubicBezTo>
                  <a:cubicBezTo>
                    <a:pt x="22" y="74"/>
                    <a:pt x="11" y="62"/>
                    <a:pt x="7" y="49"/>
                  </a:cubicBezTo>
                  <a:cubicBezTo>
                    <a:pt x="0" y="23"/>
                    <a:pt x="6" y="5"/>
                    <a:pt x="6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33" y="7"/>
                    <a:pt x="49" y="25"/>
                  </a:cubicBezTo>
                  <a:cubicBezTo>
                    <a:pt x="60" y="36"/>
                    <a:pt x="63" y="52"/>
                    <a:pt x="61" y="63"/>
                  </a:cubicBezTo>
                  <a:cubicBezTo>
                    <a:pt x="60" y="70"/>
                    <a:pt x="57" y="75"/>
                    <a:pt x="52" y="78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49" y="80"/>
                    <a:pt x="46" y="81"/>
                    <a:pt x="43" y="81"/>
                  </a:cubicBezTo>
                  <a:close/>
                  <a:moveTo>
                    <a:pt x="14" y="12"/>
                  </a:moveTo>
                  <a:cubicBezTo>
                    <a:pt x="13" y="19"/>
                    <a:pt x="12" y="31"/>
                    <a:pt x="17" y="46"/>
                  </a:cubicBezTo>
                  <a:cubicBezTo>
                    <a:pt x="20" y="56"/>
                    <a:pt x="28" y="66"/>
                    <a:pt x="37" y="69"/>
                  </a:cubicBezTo>
                  <a:cubicBezTo>
                    <a:pt x="40" y="70"/>
                    <a:pt x="44" y="71"/>
                    <a:pt x="47" y="70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9" y="68"/>
                    <a:pt x="50" y="65"/>
                    <a:pt x="51" y="61"/>
                  </a:cubicBezTo>
                  <a:cubicBezTo>
                    <a:pt x="52" y="53"/>
                    <a:pt x="50" y="41"/>
                    <a:pt x="42" y="32"/>
                  </a:cubicBezTo>
                  <a:cubicBezTo>
                    <a:pt x="32" y="21"/>
                    <a:pt x="21" y="15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3" name="Freeform 301">
              <a:extLst>
                <a:ext uri="{FF2B5EF4-FFF2-40B4-BE49-F238E27FC236}">
                  <a16:creationId xmlns:a16="http://schemas.microsoft.com/office/drawing/2014/main" id="{3D83D719-C499-4DC2-A035-1CE8F822B3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1476" y="4214813"/>
              <a:ext cx="123825" cy="73025"/>
            </a:xfrm>
            <a:custGeom>
              <a:avLst/>
              <a:gdLst>
                <a:gd name="T0" fmla="*/ 41 w 74"/>
                <a:gd name="T1" fmla="*/ 44 h 44"/>
                <a:gd name="T2" fmla="*/ 37 w 74"/>
                <a:gd name="T3" fmla="*/ 44 h 44"/>
                <a:gd name="T4" fmla="*/ 3 w 74"/>
                <a:gd name="T5" fmla="*/ 30 h 44"/>
                <a:gd name="T6" fmla="*/ 0 w 74"/>
                <a:gd name="T7" fmla="*/ 27 h 44"/>
                <a:gd name="T8" fmla="*/ 3 w 74"/>
                <a:gd name="T9" fmla="*/ 24 h 44"/>
                <a:gd name="T10" fmla="*/ 32 w 74"/>
                <a:gd name="T11" fmla="*/ 4 h 44"/>
                <a:gd name="T12" fmla="*/ 64 w 74"/>
                <a:gd name="T13" fmla="*/ 7 h 44"/>
                <a:gd name="T14" fmla="*/ 73 w 74"/>
                <a:gd name="T15" fmla="*/ 20 h 44"/>
                <a:gd name="T16" fmla="*/ 73 w 74"/>
                <a:gd name="T17" fmla="*/ 20 h 44"/>
                <a:gd name="T18" fmla="*/ 67 w 74"/>
                <a:gd name="T19" fmla="*/ 34 h 44"/>
                <a:gd name="T20" fmla="*/ 41 w 74"/>
                <a:gd name="T21" fmla="*/ 44 h 44"/>
                <a:gd name="T22" fmla="*/ 14 w 74"/>
                <a:gd name="T23" fmla="*/ 26 h 44"/>
                <a:gd name="T24" fmla="*/ 38 w 74"/>
                <a:gd name="T25" fmla="*/ 34 h 44"/>
                <a:gd name="T26" fmla="*/ 60 w 74"/>
                <a:gd name="T27" fmla="*/ 27 h 44"/>
                <a:gd name="T28" fmla="*/ 63 w 74"/>
                <a:gd name="T29" fmla="*/ 21 h 44"/>
                <a:gd name="T30" fmla="*/ 63 w 74"/>
                <a:gd name="T31" fmla="*/ 21 h 44"/>
                <a:gd name="T32" fmla="*/ 59 w 74"/>
                <a:gd name="T33" fmla="*/ 16 h 44"/>
                <a:gd name="T34" fmla="*/ 36 w 74"/>
                <a:gd name="T35" fmla="*/ 13 h 44"/>
                <a:gd name="T36" fmla="*/ 14 w 74"/>
                <a:gd name="T37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44">
                  <a:moveTo>
                    <a:pt x="41" y="44"/>
                  </a:moveTo>
                  <a:cubicBezTo>
                    <a:pt x="39" y="44"/>
                    <a:pt x="38" y="44"/>
                    <a:pt x="37" y="44"/>
                  </a:cubicBezTo>
                  <a:cubicBezTo>
                    <a:pt x="15" y="41"/>
                    <a:pt x="4" y="31"/>
                    <a:pt x="3" y="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3"/>
                    <a:pt x="14" y="10"/>
                    <a:pt x="32" y="4"/>
                  </a:cubicBezTo>
                  <a:cubicBezTo>
                    <a:pt x="44" y="0"/>
                    <a:pt x="57" y="3"/>
                    <a:pt x="64" y="7"/>
                  </a:cubicBezTo>
                  <a:cubicBezTo>
                    <a:pt x="69" y="11"/>
                    <a:pt x="72" y="15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4" y="25"/>
                    <a:pt x="72" y="30"/>
                    <a:pt x="67" y="34"/>
                  </a:cubicBezTo>
                  <a:cubicBezTo>
                    <a:pt x="61" y="40"/>
                    <a:pt x="51" y="44"/>
                    <a:pt x="41" y="44"/>
                  </a:cubicBezTo>
                  <a:close/>
                  <a:moveTo>
                    <a:pt x="14" y="26"/>
                  </a:moveTo>
                  <a:cubicBezTo>
                    <a:pt x="19" y="29"/>
                    <a:pt x="27" y="33"/>
                    <a:pt x="38" y="34"/>
                  </a:cubicBezTo>
                  <a:cubicBezTo>
                    <a:pt x="47" y="35"/>
                    <a:pt x="56" y="31"/>
                    <a:pt x="60" y="27"/>
                  </a:cubicBezTo>
                  <a:cubicBezTo>
                    <a:pt x="61" y="26"/>
                    <a:pt x="63" y="23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19"/>
                    <a:pt x="61" y="18"/>
                    <a:pt x="59" y="16"/>
                  </a:cubicBezTo>
                  <a:cubicBezTo>
                    <a:pt x="54" y="13"/>
                    <a:pt x="44" y="10"/>
                    <a:pt x="36" y="13"/>
                  </a:cubicBezTo>
                  <a:cubicBezTo>
                    <a:pt x="26" y="17"/>
                    <a:pt x="18" y="22"/>
                    <a:pt x="14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4" name="Freeform 302">
              <a:extLst>
                <a:ext uri="{FF2B5EF4-FFF2-40B4-BE49-F238E27FC236}">
                  <a16:creationId xmlns:a16="http://schemas.microsoft.com/office/drawing/2014/main" id="{B1C67CAB-1A52-4A47-B560-2848157A6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1501" y="4117976"/>
              <a:ext cx="215900" cy="177800"/>
            </a:xfrm>
            <a:custGeom>
              <a:avLst/>
              <a:gdLst>
                <a:gd name="T0" fmla="*/ 49 w 128"/>
                <a:gd name="T1" fmla="*/ 105 h 105"/>
                <a:gd name="T2" fmla="*/ 41 w 128"/>
                <a:gd name="T3" fmla="*/ 104 h 105"/>
                <a:gd name="T4" fmla="*/ 9 w 128"/>
                <a:gd name="T5" fmla="*/ 79 h 105"/>
                <a:gd name="T6" fmla="*/ 5 w 128"/>
                <a:gd name="T7" fmla="*/ 38 h 105"/>
                <a:gd name="T8" fmla="*/ 35 w 128"/>
                <a:gd name="T9" fmla="*/ 10 h 105"/>
                <a:gd name="T10" fmla="*/ 122 w 128"/>
                <a:gd name="T11" fmla="*/ 10 h 105"/>
                <a:gd name="T12" fmla="*/ 128 w 128"/>
                <a:gd name="T13" fmla="*/ 11 h 105"/>
                <a:gd name="T14" fmla="*/ 125 w 128"/>
                <a:gd name="T15" fmla="*/ 17 h 105"/>
                <a:gd name="T16" fmla="*/ 82 w 128"/>
                <a:gd name="T17" fmla="*/ 91 h 105"/>
                <a:gd name="T18" fmla="*/ 82 w 128"/>
                <a:gd name="T19" fmla="*/ 91 h 105"/>
                <a:gd name="T20" fmla="*/ 49 w 128"/>
                <a:gd name="T21" fmla="*/ 105 h 105"/>
                <a:gd name="T22" fmla="*/ 68 w 128"/>
                <a:gd name="T23" fmla="*/ 16 h 105"/>
                <a:gd name="T24" fmla="*/ 39 w 128"/>
                <a:gd name="T25" fmla="*/ 19 h 105"/>
                <a:gd name="T26" fmla="*/ 15 w 128"/>
                <a:gd name="T27" fmla="*/ 42 h 105"/>
                <a:gd name="T28" fmla="*/ 18 w 128"/>
                <a:gd name="T29" fmla="*/ 74 h 105"/>
                <a:gd name="T30" fmla="*/ 43 w 128"/>
                <a:gd name="T31" fmla="*/ 94 h 105"/>
                <a:gd name="T32" fmla="*/ 76 w 128"/>
                <a:gd name="T33" fmla="*/ 83 h 105"/>
                <a:gd name="T34" fmla="*/ 76 w 128"/>
                <a:gd name="T35" fmla="*/ 83 h 105"/>
                <a:gd name="T36" fmla="*/ 114 w 128"/>
                <a:gd name="T37" fmla="*/ 19 h 105"/>
                <a:gd name="T38" fmla="*/ 68 w 128"/>
                <a:gd name="T39" fmla="*/ 1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05">
                  <a:moveTo>
                    <a:pt x="49" y="105"/>
                  </a:moveTo>
                  <a:cubicBezTo>
                    <a:pt x="46" y="105"/>
                    <a:pt x="43" y="104"/>
                    <a:pt x="41" y="104"/>
                  </a:cubicBezTo>
                  <a:cubicBezTo>
                    <a:pt x="28" y="102"/>
                    <a:pt x="16" y="92"/>
                    <a:pt x="9" y="79"/>
                  </a:cubicBezTo>
                  <a:cubicBezTo>
                    <a:pt x="2" y="66"/>
                    <a:pt x="0" y="51"/>
                    <a:pt x="5" y="38"/>
                  </a:cubicBezTo>
                  <a:cubicBezTo>
                    <a:pt x="9" y="29"/>
                    <a:pt x="16" y="17"/>
                    <a:pt x="35" y="10"/>
                  </a:cubicBezTo>
                  <a:cubicBezTo>
                    <a:pt x="60" y="0"/>
                    <a:pt x="119" y="10"/>
                    <a:pt x="122" y="10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9"/>
                    <a:pt x="104" y="72"/>
                    <a:pt x="82" y="91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69" y="102"/>
                    <a:pt x="58" y="105"/>
                    <a:pt x="49" y="105"/>
                  </a:cubicBezTo>
                  <a:close/>
                  <a:moveTo>
                    <a:pt x="68" y="16"/>
                  </a:moveTo>
                  <a:cubicBezTo>
                    <a:pt x="57" y="16"/>
                    <a:pt x="46" y="16"/>
                    <a:pt x="39" y="19"/>
                  </a:cubicBezTo>
                  <a:cubicBezTo>
                    <a:pt x="27" y="24"/>
                    <a:pt x="18" y="32"/>
                    <a:pt x="15" y="42"/>
                  </a:cubicBezTo>
                  <a:cubicBezTo>
                    <a:pt x="11" y="52"/>
                    <a:pt x="12" y="64"/>
                    <a:pt x="18" y="74"/>
                  </a:cubicBezTo>
                  <a:cubicBezTo>
                    <a:pt x="23" y="85"/>
                    <a:pt x="33" y="92"/>
                    <a:pt x="43" y="94"/>
                  </a:cubicBezTo>
                  <a:cubicBezTo>
                    <a:pt x="54" y="96"/>
                    <a:pt x="65" y="93"/>
                    <a:pt x="76" y="83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92" y="70"/>
                    <a:pt x="108" y="33"/>
                    <a:pt x="114" y="19"/>
                  </a:cubicBezTo>
                  <a:cubicBezTo>
                    <a:pt x="104" y="18"/>
                    <a:pt x="86" y="16"/>
                    <a:pt x="6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5" name="Freeform 303">
              <a:extLst>
                <a:ext uri="{FF2B5EF4-FFF2-40B4-BE49-F238E27FC236}">
                  <a16:creationId xmlns:a16="http://schemas.microsoft.com/office/drawing/2014/main" id="{3EE0B1B3-3C6E-4882-B255-E1EEAA77D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1" y="4217988"/>
              <a:ext cx="55563" cy="33338"/>
            </a:xfrm>
            <a:custGeom>
              <a:avLst/>
              <a:gdLst>
                <a:gd name="T0" fmla="*/ 27 w 33"/>
                <a:gd name="T1" fmla="*/ 20 h 20"/>
                <a:gd name="T2" fmla="*/ 26 w 33"/>
                <a:gd name="T3" fmla="*/ 19 h 20"/>
                <a:gd name="T4" fmla="*/ 4 w 33"/>
                <a:gd name="T5" fmla="*/ 10 h 20"/>
                <a:gd name="T6" fmla="*/ 1 w 33"/>
                <a:gd name="T7" fmla="*/ 4 h 20"/>
                <a:gd name="T8" fmla="*/ 8 w 33"/>
                <a:gd name="T9" fmla="*/ 1 h 20"/>
                <a:gd name="T10" fmla="*/ 29 w 33"/>
                <a:gd name="T11" fmla="*/ 10 h 20"/>
                <a:gd name="T12" fmla="*/ 32 w 33"/>
                <a:gd name="T13" fmla="*/ 17 h 20"/>
                <a:gd name="T14" fmla="*/ 27 w 3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0">
                  <a:moveTo>
                    <a:pt x="27" y="20"/>
                  </a:moveTo>
                  <a:cubicBezTo>
                    <a:pt x="27" y="20"/>
                    <a:pt x="26" y="20"/>
                    <a:pt x="26" y="1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1"/>
                    <a:pt x="33" y="14"/>
                    <a:pt x="32" y="17"/>
                  </a:cubicBezTo>
                  <a:cubicBezTo>
                    <a:pt x="31" y="19"/>
                    <a:pt x="29" y="20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6" name="Freeform 304">
              <a:extLst>
                <a:ext uri="{FF2B5EF4-FFF2-40B4-BE49-F238E27FC236}">
                  <a16:creationId xmlns:a16="http://schemas.microsoft.com/office/drawing/2014/main" id="{8897CE2F-D161-4A39-8B05-3F4C48BC7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4051" y="4167188"/>
              <a:ext cx="20638" cy="47625"/>
            </a:xfrm>
            <a:custGeom>
              <a:avLst/>
              <a:gdLst>
                <a:gd name="T0" fmla="*/ 6 w 12"/>
                <a:gd name="T1" fmla="*/ 28 h 28"/>
                <a:gd name="T2" fmla="*/ 5 w 12"/>
                <a:gd name="T3" fmla="*/ 28 h 28"/>
                <a:gd name="T4" fmla="*/ 1 w 12"/>
                <a:gd name="T5" fmla="*/ 23 h 28"/>
                <a:gd name="T6" fmla="*/ 2 w 12"/>
                <a:gd name="T7" fmla="*/ 5 h 28"/>
                <a:gd name="T8" fmla="*/ 7 w 12"/>
                <a:gd name="T9" fmla="*/ 0 h 28"/>
                <a:gd name="T10" fmla="*/ 12 w 12"/>
                <a:gd name="T11" fmla="*/ 5 h 28"/>
                <a:gd name="T12" fmla="*/ 11 w 12"/>
                <a:gd name="T13" fmla="*/ 24 h 28"/>
                <a:gd name="T14" fmla="*/ 6 w 12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8">
                  <a:moveTo>
                    <a:pt x="6" y="28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2" y="28"/>
                    <a:pt x="0" y="26"/>
                    <a:pt x="1" y="2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2"/>
                    <a:pt x="4" y="0"/>
                    <a:pt x="7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6"/>
                    <a:pt x="8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47" name="Freeform 305">
              <a:extLst>
                <a:ext uri="{FF2B5EF4-FFF2-40B4-BE49-F238E27FC236}">
                  <a16:creationId xmlns:a16="http://schemas.microsoft.com/office/drawing/2014/main" id="{76B7B5A4-BDC7-415B-BF99-C7BFA417F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6" y="4168776"/>
              <a:ext cx="185738" cy="133350"/>
            </a:xfrm>
            <a:custGeom>
              <a:avLst/>
              <a:gdLst>
                <a:gd name="T0" fmla="*/ 5 w 110"/>
                <a:gd name="T1" fmla="*/ 79 h 79"/>
                <a:gd name="T2" fmla="*/ 3 w 110"/>
                <a:gd name="T3" fmla="*/ 79 h 79"/>
                <a:gd name="T4" fmla="*/ 1 w 110"/>
                <a:gd name="T5" fmla="*/ 72 h 79"/>
                <a:gd name="T6" fmla="*/ 29 w 110"/>
                <a:gd name="T7" fmla="*/ 44 h 79"/>
                <a:gd name="T8" fmla="*/ 102 w 110"/>
                <a:gd name="T9" fmla="*/ 2 h 79"/>
                <a:gd name="T10" fmla="*/ 109 w 110"/>
                <a:gd name="T11" fmla="*/ 4 h 79"/>
                <a:gd name="T12" fmla="*/ 107 w 110"/>
                <a:gd name="T13" fmla="*/ 10 h 79"/>
                <a:gd name="T14" fmla="*/ 34 w 110"/>
                <a:gd name="T15" fmla="*/ 52 h 79"/>
                <a:gd name="T16" fmla="*/ 34 w 110"/>
                <a:gd name="T17" fmla="*/ 52 h 79"/>
                <a:gd name="T18" fmla="*/ 10 w 110"/>
                <a:gd name="T19" fmla="*/ 77 h 79"/>
                <a:gd name="T20" fmla="*/ 5 w 110"/>
                <a:gd name="T2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79">
                  <a:moveTo>
                    <a:pt x="5" y="79"/>
                  </a:moveTo>
                  <a:cubicBezTo>
                    <a:pt x="4" y="79"/>
                    <a:pt x="4" y="79"/>
                    <a:pt x="3" y="79"/>
                  </a:cubicBezTo>
                  <a:cubicBezTo>
                    <a:pt x="0" y="77"/>
                    <a:pt x="0" y="74"/>
                    <a:pt x="1" y="72"/>
                  </a:cubicBezTo>
                  <a:cubicBezTo>
                    <a:pt x="9" y="57"/>
                    <a:pt x="28" y="44"/>
                    <a:pt x="29" y="44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4" y="0"/>
                    <a:pt x="108" y="1"/>
                    <a:pt x="109" y="4"/>
                  </a:cubicBezTo>
                  <a:cubicBezTo>
                    <a:pt x="110" y="6"/>
                    <a:pt x="109" y="9"/>
                    <a:pt x="107" y="10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16" y="64"/>
                    <a:pt x="10" y="77"/>
                  </a:cubicBezTo>
                  <a:cubicBezTo>
                    <a:pt x="9" y="78"/>
                    <a:pt x="7" y="79"/>
                    <a:pt x="5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  <p:grpSp>
        <p:nvGrpSpPr>
          <p:cNvPr id="59" name="Grupo 1229">
            <a:extLst>
              <a:ext uri="{FF2B5EF4-FFF2-40B4-BE49-F238E27FC236}">
                <a16:creationId xmlns:a16="http://schemas.microsoft.com/office/drawing/2014/main" id="{F13E71A5-42AA-4A92-A735-8ECA25557D2F}"/>
              </a:ext>
            </a:extLst>
          </p:cNvPr>
          <p:cNvGrpSpPr>
            <a:grpSpLocks noChangeAspect="1"/>
          </p:cNvGrpSpPr>
          <p:nvPr/>
        </p:nvGrpSpPr>
        <p:grpSpPr>
          <a:xfrm>
            <a:off x="2125949" y="1959163"/>
            <a:ext cx="409903" cy="457200"/>
            <a:chOff x="2041526" y="3325813"/>
            <a:chExt cx="371475" cy="414338"/>
          </a:xfrm>
          <a:solidFill>
            <a:schemeClr val="bg1"/>
          </a:solidFill>
        </p:grpSpPr>
        <p:sp>
          <p:nvSpPr>
            <p:cNvPr id="60" name="Freeform 31">
              <a:extLst>
                <a:ext uri="{FF2B5EF4-FFF2-40B4-BE49-F238E27FC236}">
                  <a16:creationId xmlns:a16="http://schemas.microsoft.com/office/drawing/2014/main" id="{E74A205D-A59B-4E2D-937C-C4EB1791B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963" y="3406776"/>
              <a:ext cx="174625" cy="333375"/>
            </a:xfrm>
            <a:custGeom>
              <a:avLst/>
              <a:gdLst>
                <a:gd name="T0" fmla="*/ 6 w 119"/>
                <a:gd name="T1" fmla="*/ 227 h 227"/>
                <a:gd name="T2" fmla="*/ 3 w 119"/>
                <a:gd name="T3" fmla="*/ 226 h 227"/>
                <a:gd name="T4" fmla="*/ 1 w 119"/>
                <a:gd name="T5" fmla="*/ 220 h 227"/>
                <a:gd name="T6" fmla="*/ 34 w 119"/>
                <a:gd name="T7" fmla="*/ 122 h 227"/>
                <a:gd name="T8" fmla="*/ 34 w 119"/>
                <a:gd name="T9" fmla="*/ 0 h 227"/>
                <a:gd name="T10" fmla="*/ 44 w 119"/>
                <a:gd name="T11" fmla="*/ 0 h 227"/>
                <a:gd name="T12" fmla="*/ 44 w 119"/>
                <a:gd name="T13" fmla="*/ 123 h 227"/>
                <a:gd name="T14" fmla="*/ 44 w 119"/>
                <a:gd name="T15" fmla="*/ 124 h 227"/>
                <a:gd name="T16" fmla="*/ 16 w 119"/>
                <a:gd name="T17" fmla="*/ 206 h 227"/>
                <a:gd name="T18" fmla="*/ 113 w 119"/>
                <a:gd name="T19" fmla="*/ 120 h 227"/>
                <a:gd name="T20" fmla="*/ 119 w 119"/>
                <a:gd name="T21" fmla="*/ 127 h 227"/>
                <a:gd name="T22" fmla="*/ 9 w 119"/>
                <a:gd name="T23" fmla="*/ 226 h 227"/>
                <a:gd name="T24" fmla="*/ 6 w 119"/>
                <a:gd name="T2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227">
                  <a:moveTo>
                    <a:pt x="6" y="227"/>
                  </a:moveTo>
                  <a:cubicBezTo>
                    <a:pt x="5" y="227"/>
                    <a:pt x="4" y="227"/>
                    <a:pt x="3" y="226"/>
                  </a:cubicBezTo>
                  <a:cubicBezTo>
                    <a:pt x="1" y="225"/>
                    <a:pt x="0" y="223"/>
                    <a:pt x="1" y="220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23"/>
                    <a:pt x="44" y="123"/>
                    <a:pt x="44" y="123"/>
                  </a:cubicBezTo>
                  <a:cubicBezTo>
                    <a:pt x="44" y="123"/>
                    <a:pt x="44" y="124"/>
                    <a:pt x="44" y="124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9" y="127"/>
                    <a:pt x="119" y="127"/>
                    <a:pt x="119" y="127"/>
                  </a:cubicBezTo>
                  <a:cubicBezTo>
                    <a:pt x="9" y="226"/>
                    <a:pt x="9" y="226"/>
                    <a:pt x="9" y="226"/>
                  </a:cubicBezTo>
                  <a:cubicBezTo>
                    <a:pt x="8" y="227"/>
                    <a:pt x="7" y="227"/>
                    <a:pt x="6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1" name="Freeform 32">
              <a:extLst>
                <a:ext uri="{FF2B5EF4-FFF2-40B4-BE49-F238E27FC236}">
                  <a16:creationId xmlns:a16="http://schemas.microsoft.com/office/drawing/2014/main" id="{007A8D9B-B791-42E4-81E9-926882B62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1" y="3406776"/>
              <a:ext cx="174625" cy="333375"/>
            </a:xfrm>
            <a:custGeom>
              <a:avLst/>
              <a:gdLst>
                <a:gd name="T0" fmla="*/ 113 w 119"/>
                <a:gd name="T1" fmla="*/ 227 h 227"/>
                <a:gd name="T2" fmla="*/ 110 w 119"/>
                <a:gd name="T3" fmla="*/ 226 h 227"/>
                <a:gd name="T4" fmla="*/ 0 w 119"/>
                <a:gd name="T5" fmla="*/ 127 h 227"/>
                <a:gd name="T6" fmla="*/ 6 w 119"/>
                <a:gd name="T7" fmla="*/ 120 h 227"/>
                <a:gd name="T8" fmla="*/ 102 w 119"/>
                <a:gd name="T9" fmla="*/ 206 h 227"/>
                <a:gd name="T10" fmla="*/ 75 w 119"/>
                <a:gd name="T11" fmla="*/ 124 h 227"/>
                <a:gd name="T12" fmla="*/ 75 w 119"/>
                <a:gd name="T13" fmla="*/ 123 h 227"/>
                <a:gd name="T14" fmla="*/ 75 w 119"/>
                <a:gd name="T15" fmla="*/ 0 h 227"/>
                <a:gd name="T16" fmla="*/ 85 w 119"/>
                <a:gd name="T17" fmla="*/ 0 h 227"/>
                <a:gd name="T18" fmla="*/ 85 w 119"/>
                <a:gd name="T19" fmla="*/ 122 h 227"/>
                <a:gd name="T20" fmla="*/ 118 w 119"/>
                <a:gd name="T21" fmla="*/ 220 h 227"/>
                <a:gd name="T22" fmla="*/ 116 w 119"/>
                <a:gd name="T23" fmla="*/ 226 h 227"/>
                <a:gd name="T24" fmla="*/ 113 w 119"/>
                <a:gd name="T2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227">
                  <a:moveTo>
                    <a:pt x="113" y="227"/>
                  </a:moveTo>
                  <a:cubicBezTo>
                    <a:pt x="112" y="227"/>
                    <a:pt x="111" y="227"/>
                    <a:pt x="110" y="226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6" y="120"/>
                    <a:pt x="6" y="120"/>
                    <a:pt x="6" y="120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5" y="124"/>
                    <a:pt x="75" y="123"/>
                    <a:pt x="75" y="12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118" y="220"/>
                    <a:pt x="118" y="220"/>
                    <a:pt x="118" y="220"/>
                  </a:cubicBezTo>
                  <a:cubicBezTo>
                    <a:pt x="119" y="223"/>
                    <a:pt x="118" y="225"/>
                    <a:pt x="116" y="226"/>
                  </a:cubicBezTo>
                  <a:cubicBezTo>
                    <a:pt x="115" y="227"/>
                    <a:pt x="114" y="227"/>
                    <a:pt x="113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2" name="Freeform 33">
              <a:extLst>
                <a:ext uri="{FF2B5EF4-FFF2-40B4-BE49-F238E27FC236}">
                  <a16:creationId xmlns:a16="http://schemas.microsoft.com/office/drawing/2014/main" id="{0B1DE2DF-9B9A-42BD-8EF4-47C21B020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1526" y="3522663"/>
              <a:ext cx="371475" cy="63500"/>
            </a:xfrm>
            <a:custGeom>
              <a:avLst/>
              <a:gdLst>
                <a:gd name="T0" fmla="*/ 247 w 253"/>
                <a:gd name="T1" fmla="*/ 44 h 44"/>
                <a:gd name="T2" fmla="*/ 6 w 253"/>
                <a:gd name="T3" fmla="*/ 44 h 44"/>
                <a:gd name="T4" fmla="*/ 1 w 253"/>
                <a:gd name="T5" fmla="*/ 40 h 44"/>
                <a:gd name="T6" fmla="*/ 4 w 253"/>
                <a:gd name="T7" fmla="*/ 34 h 44"/>
                <a:gd name="T8" fmla="*/ 86 w 253"/>
                <a:gd name="T9" fmla="*/ 0 h 44"/>
                <a:gd name="T10" fmla="*/ 88 w 253"/>
                <a:gd name="T11" fmla="*/ 0 h 44"/>
                <a:gd name="T12" fmla="*/ 165 w 253"/>
                <a:gd name="T13" fmla="*/ 0 h 44"/>
                <a:gd name="T14" fmla="*/ 167 w 253"/>
                <a:gd name="T15" fmla="*/ 0 h 44"/>
                <a:gd name="T16" fmla="*/ 249 w 253"/>
                <a:gd name="T17" fmla="*/ 34 h 44"/>
                <a:gd name="T18" fmla="*/ 252 w 253"/>
                <a:gd name="T19" fmla="*/ 40 h 44"/>
                <a:gd name="T20" fmla="*/ 247 w 253"/>
                <a:gd name="T21" fmla="*/ 44 h 44"/>
                <a:gd name="T22" fmla="*/ 31 w 253"/>
                <a:gd name="T23" fmla="*/ 34 h 44"/>
                <a:gd name="T24" fmla="*/ 222 w 253"/>
                <a:gd name="T25" fmla="*/ 34 h 44"/>
                <a:gd name="T26" fmla="*/ 164 w 253"/>
                <a:gd name="T27" fmla="*/ 10 h 44"/>
                <a:gd name="T28" fmla="*/ 89 w 253"/>
                <a:gd name="T29" fmla="*/ 10 h 44"/>
                <a:gd name="T30" fmla="*/ 31 w 253"/>
                <a:gd name="T31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3" h="44">
                  <a:moveTo>
                    <a:pt x="247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3" y="44"/>
                    <a:pt x="1" y="42"/>
                    <a:pt x="1" y="40"/>
                  </a:cubicBezTo>
                  <a:cubicBezTo>
                    <a:pt x="0" y="38"/>
                    <a:pt x="1" y="35"/>
                    <a:pt x="4" y="3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7" y="0"/>
                    <a:pt x="88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6" y="0"/>
                    <a:pt x="166" y="0"/>
                    <a:pt x="167" y="0"/>
                  </a:cubicBezTo>
                  <a:cubicBezTo>
                    <a:pt x="249" y="34"/>
                    <a:pt x="249" y="34"/>
                    <a:pt x="249" y="34"/>
                  </a:cubicBezTo>
                  <a:cubicBezTo>
                    <a:pt x="252" y="35"/>
                    <a:pt x="253" y="38"/>
                    <a:pt x="252" y="40"/>
                  </a:cubicBezTo>
                  <a:cubicBezTo>
                    <a:pt x="252" y="42"/>
                    <a:pt x="250" y="44"/>
                    <a:pt x="247" y="44"/>
                  </a:cubicBezTo>
                  <a:close/>
                  <a:moveTo>
                    <a:pt x="31" y="34"/>
                  </a:moveTo>
                  <a:cubicBezTo>
                    <a:pt x="222" y="34"/>
                    <a:pt x="222" y="34"/>
                    <a:pt x="222" y="34"/>
                  </a:cubicBezTo>
                  <a:cubicBezTo>
                    <a:pt x="164" y="10"/>
                    <a:pt x="164" y="10"/>
                    <a:pt x="164" y="10"/>
                  </a:cubicBezTo>
                  <a:cubicBezTo>
                    <a:pt x="89" y="10"/>
                    <a:pt x="89" y="10"/>
                    <a:pt x="89" y="10"/>
                  </a:cubicBezTo>
                  <a:lnTo>
                    <a:pt x="3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3" name="Freeform 34">
              <a:extLst>
                <a:ext uri="{FF2B5EF4-FFF2-40B4-BE49-F238E27FC236}">
                  <a16:creationId xmlns:a16="http://schemas.microsoft.com/office/drawing/2014/main" id="{88C977E3-7F79-4ED3-8F26-81A586460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8513" y="3398838"/>
              <a:ext cx="315913" cy="58738"/>
            </a:xfrm>
            <a:custGeom>
              <a:avLst/>
              <a:gdLst>
                <a:gd name="T0" fmla="*/ 210 w 215"/>
                <a:gd name="T1" fmla="*/ 40 h 40"/>
                <a:gd name="T2" fmla="*/ 5 w 215"/>
                <a:gd name="T3" fmla="*/ 40 h 40"/>
                <a:gd name="T4" fmla="*/ 0 w 215"/>
                <a:gd name="T5" fmla="*/ 36 h 40"/>
                <a:gd name="T6" fmla="*/ 3 w 215"/>
                <a:gd name="T7" fmla="*/ 30 h 40"/>
                <a:gd name="T8" fmla="*/ 67 w 215"/>
                <a:gd name="T9" fmla="*/ 0 h 40"/>
                <a:gd name="T10" fmla="*/ 69 w 215"/>
                <a:gd name="T11" fmla="*/ 0 h 40"/>
                <a:gd name="T12" fmla="*/ 146 w 215"/>
                <a:gd name="T13" fmla="*/ 0 h 40"/>
                <a:gd name="T14" fmla="*/ 148 w 215"/>
                <a:gd name="T15" fmla="*/ 0 h 40"/>
                <a:gd name="T16" fmla="*/ 212 w 215"/>
                <a:gd name="T17" fmla="*/ 30 h 40"/>
                <a:gd name="T18" fmla="*/ 214 w 215"/>
                <a:gd name="T19" fmla="*/ 36 h 40"/>
                <a:gd name="T20" fmla="*/ 210 w 215"/>
                <a:gd name="T21" fmla="*/ 40 h 40"/>
                <a:gd name="T22" fmla="*/ 28 w 215"/>
                <a:gd name="T23" fmla="*/ 30 h 40"/>
                <a:gd name="T24" fmla="*/ 187 w 215"/>
                <a:gd name="T25" fmla="*/ 30 h 40"/>
                <a:gd name="T26" fmla="*/ 145 w 215"/>
                <a:gd name="T27" fmla="*/ 10 h 40"/>
                <a:gd name="T28" fmla="*/ 70 w 215"/>
                <a:gd name="T29" fmla="*/ 10 h 40"/>
                <a:gd name="T30" fmla="*/ 28 w 215"/>
                <a:gd name="T31" fmla="*/ 3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5" h="40">
                  <a:moveTo>
                    <a:pt x="210" y="40"/>
                  </a:moveTo>
                  <a:cubicBezTo>
                    <a:pt x="5" y="40"/>
                    <a:pt x="5" y="40"/>
                    <a:pt x="5" y="40"/>
                  </a:cubicBezTo>
                  <a:cubicBezTo>
                    <a:pt x="3" y="40"/>
                    <a:pt x="1" y="38"/>
                    <a:pt x="0" y="36"/>
                  </a:cubicBezTo>
                  <a:cubicBezTo>
                    <a:pt x="0" y="34"/>
                    <a:pt x="1" y="31"/>
                    <a:pt x="3" y="3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0"/>
                    <a:pt x="68" y="0"/>
                    <a:pt x="69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7" y="0"/>
                    <a:pt x="147" y="0"/>
                    <a:pt x="148" y="0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4" y="31"/>
                    <a:pt x="215" y="34"/>
                    <a:pt x="214" y="36"/>
                  </a:cubicBezTo>
                  <a:cubicBezTo>
                    <a:pt x="214" y="38"/>
                    <a:pt x="212" y="40"/>
                    <a:pt x="210" y="40"/>
                  </a:cubicBezTo>
                  <a:close/>
                  <a:moveTo>
                    <a:pt x="28" y="30"/>
                  </a:moveTo>
                  <a:cubicBezTo>
                    <a:pt x="187" y="30"/>
                    <a:pt x="187" y="30"/>
                    <a:pt x="187" y="30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70" y="10"/>
                    <a:pt x="70" y="10"/>
                    <a:pt x="70" y="10"/>
                  </a:cubicBezTo>
                  <a:lnTo>
                    <a:pt x="2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4" name="Freeform 35">
              <a:extLst>
                <a:ext uri="{FF2B5EF4-FFF2-40B4-BE49-F238E27FC236}">
                  <a16:creationId xmlns:a16="http://schemas.microsoft.com/office/drawing/2014/main" id="{D3100156-926B-4888-9142-5518BDB2A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1" y="3444876"/>
              <a:ext cx="122238" cy="90488"/>
            </a:xfrm>
            <a:custGeom>
              <a:avLst/>
              <a:gdLst>
                <a:gd name="T0" fmla="*/ 71 w 77"/>
                <a:gd name="T1" fmla="*/ 57 h 57"/>
                <a:gd name="T2" fmla="*/ 0 w 77"/>
                <a:gd name="T3" fmla="*/ 7 h 57"/>
                <a:gd name="T4" fmla="*/ 6 w 77"/>
                <a:gd name="T5" fmla="*/ 0 h 57"/>
                <a:gd name="T6" fmla="*/ 77 w 77"/>
                <a:gd name="T7" fmla="*/ 50 h 57"/>
                <a:gd name="T8" fmla="*/ 71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71" y="57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77" y="50"/>
                  </a:lnTo>
                  <a:lnTo>
                    <a:pt x="71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5" name="Freeform 36">
              <a:extLst>
                <a:ext uri="{FF2B5EF4-FFF2-40B4-BE49-F238E27FC236}">
                  <a16:creationId xmlns:a16="http://schemas.microsoft.com/office/drawing/2014/main" id="{E189463E-DF4A-439B-A644-4927CF2C5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351" y="3444876"/>
              <a:ext cx="122238" cy="90488"/>
            </a:xfrm>
            <a:custGeom>
              <a:avLst/>
              <a:gdLst>
                <a:gd name="T0" fmla="*/ 6 w 77"/>
                <a:gd name="T1" fmla="*/ 57 h 57"/>
                <a:gd name="T2" fmla="*/ 0 w 77"/>
                <a:gd name="T3" fmla="*/ 50 h 57"/>
                <a:gd name="T4" fmla="*/ 71 w 77"/>
                <a:gd name="T5" fmla="*/ 0 h 57"/>
                <a:gd name="T6" fmla="*/ 77 w 77"/>
                <a:gd name="T7" fmla="*/ 7 h 57"/>
                <a:gd name="T8" fmla="*/ 6 w 7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57">
                  <a:moveTo>
                    <a:pt x="6" y="57"/>
                  </a:moveTo>
                  <a:lnTo>
                    <a:pt x="0" y="50"/>
                  </a:lnTo>
                  <a:lnTo>
                    <a:pt x="71" y="0"/>
                  </a:lnTo>
                  <a:lnTo>
                    <a:pt x="77" y="7"/>
                  </a:lnTo>
                  <a:lnTo>
                    <a:pt x="6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6" name="Freeform 37">
              <a:extLst>
                <a:ext uri="{FF2B5EF4-FFF2-40B4-BE49-F238E27FC236}">
                  <a16:creationId xmlns:a16="http://schemas.microsoft.com/office/drawing/2014/main" id="{21096960-88C2-4857-9289-CA2B71166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176" y="3325813"/>
              <a:ext cx="128588" cy="82550"/>
            </a:xfrm>
            <a:custGeom>
              <a:avLst/>
              <a:gdLst>
                <a:gd name="T0" fmla="*/ 78 w 87"/>
                <a:gd name="T1" fmla="*/ 57 h 57"/>
                <a:gd name="T2" fmla="*/ 53 w 87"/>
                <a:gd name="T3" fmla="*/ 10 h 57"/>
                <a:gd name="T4" fmla="*/ 34 w 87"/>
                <a:gd name="T5" fmla="*/ 10 h 57"/>
                <a:gd name="T6" fmla="*/ 9 w 87"/>
                <a:gd name="T7" fmla="*/ 57 h 57"/>
                <a:gd name="T8" fmla="*/ 0 w 87"/>
                <a:gd name="T9" fmla="*/ 53 h 57"/>
                <a:gd name="T10" fmla="*/ 27 w 87"/>
                <a:gd name="T11" fmla="*/ 3 h 57"/>
                <a:gd name="T12" fmla="*/ 31 w 87"/>
                <a:gd name="T13" fmla="*/ 0 h 57"/>
                <a:gd name="T14" fmla="*/ 56 w 87"/>
                <a:gd name="T15" fmla="*/ 0 h 57"/>
                <a:gd name="T16" fmla="*/ 60 w 87"/>
                <a:gd name="T17" fmla="*/ 3 h 57"/>
                <a:gd name="T18" fmla="*/ 87 w 87"/>
                <a:gd name="T19" fmla="*/ 53 h 57"/>
                <a:gd name="T20" fmla="*/ 78 w 87"/>
                <a:gd name="T2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7" h="57">
                  <a:moveTo>
                    <a:pt x="78" y="57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1"/>
                    <a:pt x="29" y="0"/>
                    <a:pt x="3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59" y="1"/>
                    <a:pt x="60" y="3"/>
                  </a:cubicBezTo>
                  <a:cubicBezTo>
                    <a:pt x="87" y="53"/>
                    <a:pt x="87" y="53"/>
                    <a:pt x="87" y="53"/>
                  </a:cubicBezTo>
                  <a:lnTo>
                    <a:pt x="7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69" name="Rectangle 38">
              <a:extLst>
                <a:ext uri="{FF2B5EF4-FFF2-40B4-BE49-F238E27FC236}">
                  <a16:creationId xmlns:a16="http://schemas.microsoft.com/office/drawing/2014/main" id="{356053E6-5391-43DD-9F64-7951CCAAC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4388" y="3473451"/>
              <a:ext cx="15875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0" name="Freeform 39">
              <a:extLst>
                <a:ext uri="{FF2B5EF4-FFF2-40B4-BE49-F238E27FC236}">
                  <a16:creationId xmlns:a16="http://schemas.microsoft.com/office/drawing/2014/main" id="{4F03E015-964A-4ACD-8C17-360398F8A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4388" y="3479801"/>
              <a:ext cx="15875" cy="26988"/>
            </a:xfrm>
            <a:custGeom>
              <a:avLst/>
              <a:gdLst>
                <a:gd name="T0" fmla="*/ 5 w 10"/>
                <a:gd name="T1" fmla="*/ 18 h 18"/>
                <a:gd name="T2" fmla="*/ 0 w 10"/>
                <a:gd name="T3" fmla="*/ 13 h 18"/>
                <a:gd name="T4" fmla="*/ 0 w 10"/>
                <a:gd name="T5" fmla="*/ 5 h 18"/>
                <a:gd name="T6" fmla="*/ 5 w 10"/>
                <a:gd name="T7" fmla="*/ 0 h 18"/>
                <a:gd name="T8" fmla="*/ 10 w 10"/>
                <a:gd name="T9" fmla="*/ 5 h 18"/>
                <a:gd name="T10" fmla="*/ 10 w 10"/>
                <a:gd name="T11" fmla="*/ 13 h 18"/>
                <a:gd name="T12" fmla="*/ 5 w 10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5" y="18"/>
                  </a:moveTo>
                  <a:cubicBezTo>
                    <a:pt x="3" y="18"/>
                    <a:pt x="0" y="15"/>
                    <a:pt x="0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5"/>
                    <a:pt x="8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1" name="Rectangle 40">
              <a:extLst>
                <a:ext uri="{FF2B5EF4-FFF2-40B4-BE49-F238E27FC236}">
                  <a16:creationId xmlns:a16="http://schemas.microsoft.com/office/drawing/2014/main" id="{63741293-CA3B-4FA5-A05C-8891AF7690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2676" y="3473451"/>
              <a:ext cx="14288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682884D6-3325-4627-82A5-AC65DF0A7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676" y="3479801"/>
              <a:ext cx="14288" cy="26988"/>
            </a:xfrm>
            <a:custGeom>
              <a:avLst/>
              <a:gdLst>
                <a:gd name="T0" fmla="*/ 5 w 10"/>
                <a:gd name="T1" fmla="*/ 18 h 18"/>
                <a:gd name="T2" fmla="*/ 0 w 10"/>
                <a:gd name="T3" fmla="*/ 13 h 18"/>
                <a:gd name="T4" fmla="*/ 0 w 10"/>
                <a:gd name="T5" fmla="*/ 5 h 18"/>
                <a:gd name="T6" fmla="*/ 5 w 10"/>
                <a:gd name="T7" fmla="*/ 0 h 18"/>
                <a:gd name="T8" fmla="*/ 10 w 10"/>
                <a:gd name="T9" fmla="*/ 5 h 18"/>
                <a:gd name="T10" fmla="*/ 10 w 10"/>
                <a:gd name="T11" fmla="*/ 13 h 18"/>
                <a:gd name="T12" fmla="*/ 5 w 10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5" y="18"/>
                  </a:moveTo>
                  <a:cubicBezTo>
                    <a:pt x="3" y="18"/>
                    <a:pt x="0" y="15"/>
                    <a:pt x="0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5"/>
                    <a:pt x="8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3" name="Rectangle 42">
              <a:extLst>
                <a:ext uri="{FF2B5EF4-FFF2-40B4-BE49-F238E27FC236}">
                  <a16:creationId xmlns:a16="http://schemas.microsoft.com/office/drawing/2014/main" id="{2FB00967-E05E-423A-8673-8C0144D9B6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8076" y="3603626"/>
              <a:ext cx="1587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DCDFFA11-BCA9-46A1-A5E1-BA5DB3AE8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8076" y="3608388"/>
              <a:ext cx="15875" cy="26988"/>
            </a:xfrm>
            <a:custGeom>
              <a:avLst/>
              <a:gdLst>
                <a:gd name="T0" fmla="*/ 5 w 10"/>
                <a:gd name="T1" fmla="*/ 18 h 18"/>
                <a:gd name="T2" fmla="*/ 0 w 10"/>
                <a:gd name="T3" fmla="*/ 13 h 18"/>
                <a:gd name="T4" fmla="*/ 0 w 10"/>
                <a:gd name="T5" fmla="*/ 5 h 18"/>
                <a:gd name="T6" fmla="*/ 5 w 10"/>
                <a:gd name="T7" fmla="*/ 0 h 18"/>
                <a:gd name="T8" fmla="*/ 10 w 10"/>
                <a:gd name="T9" fmla="*/ 5 h 18"/>
                <a:gd name="T10" fmla="*/ 10 w 10"/>
                <a:gd name="T11" fmla="*/ 13 h 18"/>
                <a:gd name="T12" fmla="*/ 5 w 10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5" y="18"/>
                  </a:moveTo>
                  <a:cubicBezTo>
                    <a:pt x="2" y="18"/>
                    <a:pt x="0" y="15"/>
                    <a:pt x="0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5"/>
                    <a:pt x="7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5" name="Rectangle 44">
              <a:extLst>
                <a:ext uri="{FF2B5EF4-FFF2-40B4-BE49-F238E27FC236}">
                  <a16:creationId xmlns:a16="http://schemas.microsoft.com/office/drawing/2014/main" id="{CCFA3D98-DE0F-405F-9ED4-8BC5B9498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0576" y="3603626"/>
              <a:ext cx="14288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C387F24A-63DA-4EDA-A5A5-E14D8F914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0576" y="3608388"/>
              <a:ext cx="14288" cy="26988"/>
            </a:xfrm>
            <a:custGeom>
              <a:avLst/>
              <a:gdLst>
                <a:gd name="T0" fmla="*/ 5 w 10"/>
                <a:gd name="T1" fmla="*/ 18 h 18"/>
                <a:gd name="T2" fmla="*/ 0 w 10"/>
                <a:gd name="T3" fmla="*/ 13 h 18"/>
                <a:gd name="T4" fmla="*/ 0 w 10"/>
                <a:gd name="T5" fmla="*/ 5 h 18"/>
                <a:gd name="T6" fmla="*/ 5 w 10"/>
                <a:gd name="T7" fmla="*/ 0 h 18"/>
                <a:gd name="T8" fmla="*/ 10 w 10"/>
                <a:gd name="T9" fmla="*/ 5 h 18"/>
                <a:gd name="T10" fmla="*/ 10 w 10"/>
                <a:gd name="T11" fmla="*/ 13 h 18"/>
                <a:gd name="T12" fmla="*/ 5 w 10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8">
                  <a:moveTo>
                    <a:pt x="5" y="18"/>
                  </a:moveTo>
                  <a:cubicBezTo>
                    <a:pt x="3" y="18"/>
                    <a:pt x="0" y="15"/>
                    <a:pt x="0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5"/>
                    <a:pt x="8" y="18"/>
                    <a:pt x="5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200928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k768lRJCy_eOcT44jiw"/>
</p:tagLst>
</file>

<file path=ppt/theme/theme1.xml><?xml version="1.0" encoding="utf-8"?>
<a:theme xmlns:a="http://schemas.openxmlformats.org/drawingml/2006/main" name="Tema do Office">
  <a:themeElements>
    <a:clrScheme name="Personalizada 01">
      <a:dk1>
        <a:srgbClr val="636463"/>
      </a:dk1>
      <a:lt1>
        <a:sysClr val="window" lastClr="FFFFFF"/>
      </a:lt1>
      <a:dk2>
        <a:srgbClr val="636463"/>
      </a:dk2>
      <a:lt2>
        <a:srgbClr val="E7E6E6"/>
      </a:lt2>
      <a:accent1>
        <a:srgbClr val="00ACE1"/>
      </a:accent1>
      <a:accent2>
        <a:srgbClr val="80C242"/>
      </a:accent2>
      <a:accent3>
        <a:srgbClr val="F58A1F"/>
      </a:accent3>
      <a:accent4>
        <a:srgbClr val="EC1C24"/>
      </a:accent4>
      <a:accent5>
        <a:srgbClr val="0058A0"/>
      </a:accent5>
      <a:accent6>
        <a:srgbClr val="C65D34"/>
      </a:accent6>
      <a:hlink>
        <a:srgbClr val="0563C1"/>
      </a:hlink>
      <a:folHlink>
        <a:srgbClr val="954F72"/>
      </a:folHlink>
    </a:clrScheme>
    <a:fontScheme name="Personalizada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193197E3818D64BBE8FD1FE95604953" ma:contentTypeVersion="1" ma:contentTypeDescription="Crie um novo documento." ma:contentTypeScope="" ma:versionID="5562d68758ac90f4fac35ef9c771313e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7df3e864a1ba1b0c791d115cbe9943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Agendamento de Data de Início" ma:description="Data de Início de Agendamento é uma coluna de site criada pelo recurso de Publicação. Ela é usada para especificar a data e hora em que essa página aparecerá pela primeira vez aos visitantes do site." ma:hidden="true" ma:internalName="PublishingStartDate">
      <xsd:simpleType>
        <xsd:restriction base="dms:Unknown"/>
      </xsd:simpleType>
    </xsd:element>
    <xsd:element name="PublishingExpirationDate" ma:index="9" nillable="true" ma:displayName="Agendamento de Data de Término" ma:description="Data Final de Agendamento é uma coluna de site criada pelo recurso de Publicação. Ela é usada para especificar a data e a hora em que essa página não será mais exibida aos visitantes do site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E1E3B1-7D54-4DB8-91DC-195C1AD4A9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1A9BDC-D44A-4CEC-AE97-7647C2ED2F09}">
  <ds:schemaRefs>
    <ds:schemaRef ds:uri="http://schemas.microsoft.com/sharepoint/v3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documentManagement/types"/>
  </ds:schemaRefs>
</ds:datastoreItem>
</file>

<file path=customXml/itemProps3.xml><?xml version="1.0" encoding="utf-8"?>
<ds:datastoreItem xmlns:ds="http://schemas.openxmlformats.org/officeDocument/2006/customXml" ds:itemID="{5F2A9C5F-B2B6-4033-8D8A-3E4F5084F3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73</TotalTime>
  <Words>510</Words>
  <Application>Microsoft Office PowerPoint</Application>
  <PresentationFormat>Widescreen</PresentationFormat>
  <Paragraphs>75</Paragraphs>
  <Slides>9</Slides>
  <Notes>0</Notes>
  <HiddenSlides>1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Tahoma</vt:lpstr>
      <vt:lpstr>Tema do Office</vt:lpstr>
      <vt:lpstr>1_Tema do Office</vt:lpstr>
      <vt:lpstr>Slide do think-cell</vt:lpstr>
      <vt:lpstr>Apresentação do PowerPoint</vt:lpstr>
      <vt:lpstr>Guia para a Apresentação Executiv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hais</dc:creator>
  <cp:lastModifiedBy>Caio Oriente Pereira</cp:lastModifiedBy>
  <cp:revision>349</cp:revision>
  <dcterms:created xsi:type="dcterms:W3CDTF">2018-02-16T12:23:35Z</dcterms:created>
  <dcterms:modified xsi:type="dcterms:W3CDTF">2021-12-23T19:2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93197E3818D64BBE8FD1FE95604953</vt:lpwstr>
  </property>
  <property fmtid="{D5CDD505-2E9C-101B-9397-08002B2CF9AE}" pid="3" name="MSIP_Label_022f19bc-c0ef-436a-be43-be1adb274cf3_Enabled">
    <vt:lpwstr>true</vt:lpwstr>
  </property>
  <property fmtid="{D5CDD505-2E9C-101B-9397-08002B2CF9AE}" pid="4" name="MSIP_Label_022f19bc-c0ef-436a-be43-be1adb274cf3_SetDate">
    <vt:lpwstr>2021-12-23T19:28:08Z</vt:lpwstr>
  </property>
  <property fmtid="{D5CDD505-2E9C-101B-9397-08002B2CF9AE}" pid="5" name="MSIP_Label_022f19bc-c0ef-436a-be43-be1adb274cf3_Method">
    <vt:lpwstr>Standard</vt:lpwstr>
  </property>
  <property fmtid="{D5CDD505-2E9C-101B-9397-08002B2CF9AE}" pid="6" name="MSIP_Label_022f19bc-c0ef-436a-be43-be1adb274cf3_Name">
    <vt:lpwstr>Interno</vt:lpwstr>
  </property>
  <property fmtid="{D5CDD505-2E9C-101B-9397-08002B2CF9AE}" pid="7" name="MSIP_Label_022f19bc-c0ef-436a-be43-be1adb274cf3_SiteId">
    <vt:lpwstr>93546618-e20a-4fd3-a884-9e33ca7234a7</vt:lpwstr>
  </property>
  <property fmtid="{D5CDD505-2E9C-101B-9397-08002B2CF9AE}" pid="8" name="MSIP_Label_022f19bc-c0ef-436a-be43-be1adb274cf3_ActionId">
    <vt:lpwstr>735ae206-b62f-4c38-8c83-e51ad0b7edbb</vt:lpwstr>
  </property>
  <property fmtid="{D5CDD505-2E9C-101B-9397-08002B2CF9AE}" pid="9" name="MSIP_Label_022f19bc-c0ef-436a-be43-be1adb274cf3_ContentBits">
    <vt:lpwstr>1</vt:lpwstr>
  </property>
</Properties>
</file>